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739" r:id="rId1"/>
  </p:sldMasterIdLst>
  <p:notesMasterIdLst>
    <p:notesMasterId r:id="rId13"/>
  </p:notesMasterIdLst>
  <p:handoutMasterIdLst>
    <p:handoutMasterId r:id="rId14"/>
  </p:handoutMasterIdLst>
  <p:sldIdLst>
    <p:sldId id="693" r:id="rId2"/>
    <p:sldId id="738" r:id="rId3"/>
    <p:sldId id="753" r:id="rId4"/>
    <p:sldId id="745" r:id="rId5"/>
    <p:sldId id="744" r:id="rId6"/>
    <p:sldId id="748" r:id="rId7"/>
    <p:sldId id="749" r:id="rId8"/>
    <p:sldId id="750" r:id="rId9"/>
    <p:sldId id="751" r:id="rId10"/>
    <p:sldId id="752" r:id="rId11"/>
    <p:sldId id="747" r:id="rId12"/>
  </p:sldIdLst>
  <p:sldSz cx="9906000" cy="6858000" type="A4"/>
  <p:notesSz cx="6743700" cy="9893300"/>
  <p:custDataLst>
    <p:tags r:id="rId1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6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CEFF"/>
    <a:srgbClr val="D3F2CF"/>
    <a:srgbClr val="F2B9B3"/>
    <a:srgbClr val="FFFFFF"/>
    <a:srgbClr val="D9D9D9"/>
    <a:srgbClr val="FF960C"/>
    <a:srgbClr val="DEDEDE"/>
    <a:srgbClr val="E8E8E8"/>
    <a:srgbClr val="EEEEEE"/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870" autoAdjust="0"/>
    <p:restoredTop sz="93797" autoAdjust="0"/>
  </p:normalViewPr>
  <p:slideViewPr>
    <p:cSldViewPr snapToGrid="0" snapToObjects="1">
      <p:cViewPr varScale="1">
        <p:scale>
          <a:sx n="87" d="100"/>
          <a:sy n="87" d="100"/>
        </p:scale>
        <p:origin x="192" y="62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48" y="96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3468" y="-114"/>
      </p:cViewPr>
      <p:guideLst>
        <p:guide orient="horz" pos="3116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9525" y="0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F6FCDC-B0B8-4243-8340-DCE9AB0F745C}" type="datetimeFigureOut">
              <a:rPr lang="en-US" smtClean="0"/>
              <a:t>11/1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96413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9525" y="9396413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C2DC86-18DF-44F7-B539-BDC8A3E3733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9248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9525" y="0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CC5172-E069-40DE-8568-872E3EE754FD}" type="datetimeFigureOut">
              <a:rPr lang="pt-BR" smtClean="0"/>
              <a:t>01/11/2018</a:t>
            </a:fld>
            <a:endParaRPr lang="pt-B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741363"/>
            <a:ext cx="5356225" cy="3709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688" y="4699000"/>
            <a:ext cx="5394325" cy="44529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96413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9525" y="9396413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51400A-A57C-4E82-BE2C-38275AEA2FF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71778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https</a:t>
            </a:r>
            <a:r>
              <a:rPr lang="pt-BR" dirty="0"/>
              <a:t>://</a:t>
            </a:r>
            <a:r>
              <a:rPr lang="pt-BR" dirty="0" err="1"/>
              <a:t>www.coinschedule.com</a:t>
            </a:r>
            <a:r>
              <a:rPr lang="pt-BR" dirty="0"/>
              <a:t>/</a:t>
            </a:r>
            <a:r>
              <a:rPr lang="pt-BR" dirty="0" err="1"/>
              <a:t>stats.html</a:t>
            </a:r>
            <a:endParaRPr lang="pt-BR" dirty="0"/>
          </a:p>
          <a:p>
            <a:r>
              <a:rPr lang="pt-BR" dirty="0" err="1"/>
              <a:t>https</a:t>
            </a:r>
            <a:r>
              <a:rPr lang="pt-BR" dirty="0"/>
              <a:t>://</a:t>
            </a:r>
            <a:r>
              <a:rPr lang="pt-BR" dirty="0" err="1"/>
              <a:t>icobench.com</a:t>
            </a:r>
            <a:r>
              <a:rPr lang="pt-BR" dirty="0"/>
              <a:t>/</a:t>
            </a:r>
            <a:r>
              <a:rPr lang="pt-BR" dirty="0" err="1"/>
              <a:t>stats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919810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9998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0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55000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730222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531033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68776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49538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21099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3738" y="741363"/>
            <a:ext cx="5356225" cy="3709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4547B-57C0-448F-9AB3-65D426A1F87E}" type="slidenum">
              <a:rPr lang="pt-BR" smtClean="0"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799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6.bin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oleObject" Target="../embeddings/oleObject7.bin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9615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0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972000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º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0" y="720000"/>
            <a:ext cx="8535988" cy="747897"/>
          </a:xfrm>
        </p:spPr>
        <p:txBody>
          <a:bodyPr/>
          <a:lstStyle>
            <a:lvl1pPr>
              <a:tabLst>
                <a:tab pos="1252538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DCCD818F-87F1-B849-ACAE-D3C6EE41267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6392" y="279102"/>
            <a:ext cx="1097334" cy="332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428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160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1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972000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º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38000" y="1710000"/>
            <a:ext cx="8535988" cy="1394228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0" y="720000"/>
            <a:ext cx="8535988" cy="747897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9B2006A4-B062-0C40-A8E3-65E19667FDD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6392" y="279102"/>
            <a:ext cx="1097334" cy="33274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261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58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9972000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º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6" name="Client name"/>
          <p:cNvSpPr>
            <a:spLocks noGrp="1"/>
          </p:cNvSpPr>
          <p:nvPr>
            <p:ph type="body" sz="quarter" idx="19" hasCustomPrompt="1"/>
          </p:nvPr>
        </p:nvSpPr>
        <p:spPr>
          <a:xfrm>
            <a:off x="883919" y="4815673"/>
            <a:ext cx="3006781" cy="469253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baseline="0"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Client logo/nam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0" y="4133088"/>
            <a:ext cx="3886200" cy="373949"/>
          </a:xfrm>
        </p:spPr>
        <p:txBody>
          <a:bodyPr wrap="square" lIns="360000" tIns="0" rIns="0" bIns="0" anchor="b" anchorCtr="0">
            <a:spAutoFit/>
          </a:bodyPr>
          <a:lstStyle>
            <a:lvl1pPr marL="528638" indent="-528638" algn="l">
              <a:tabLst>
                <a:tab pos="530352" algn="l"/>
                <a:tab pos="813816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 dirty="0"/>
              <a:t>A.   Click to edit text</a:t>
            </a:r>
            <a:endParaRPr lang="de-DE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80663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589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180663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590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1203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984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87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972000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º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0" name="Type of document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567619"/>
            <a:ext cx="3611301" cy="581698"/>
          </a:xfrm>
        </p:spPr>
        <p:txBody>
          <a:bodyPr wrap="square" lIns="360000" tIns="0" rIns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100"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Type of document</a:t>
            </a:r>
            <a:br>
              <a:rPr lang="en-US" dirty="0"/>
            </a:br>
            <a:r>
              <a:rPr lang="en-US" dirty="0"/>
              <a:t>(max. two lines)</a:t>
            </a:r>
          </a:p>
        </p:txBody>
      </p:sp>
      <p:sp>
        <p:nvSpPr>
          <p:cNvPr id="3" name="Location, date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436576"/>
            <a:ext cx="3611301" cy="180049"/>
          </a:xfrm>
        </p:spPr>
        <p:txBody>
          <a:bodyPr wrap="square" lIns="360000" tIns="0" rIns="25200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300" baseline="0">
                <a:latin typeface="+mn-lt"/>
                <a:sym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0" y="3320814"/>
            <a:ext cx="3611301" cy="1061248"/>
          </a:xfrm>
        </p:spPr>
        <p:txBody>
          <a:bodyPr wrap="square" lIns="360000" rIns="0" bIns="0" anchor="b" anchorCtr="0">
            <a:spAutoFit/>
          </a:bodyPr>
          <a:lstStyle>
            <a:lvl1pPr>
              <a:defRPr sz="3700" baseline="0">
                <a:latin typeface="+mj-lt"/>
                <a:sym typeface="+mn-lt"/>
              </a:defRPr>
            </a:lvl1pPr>
          </a:lstStyle>
          <a:p>
            <a:r>
              <a:rPr lang="en-US" dirty="0"/>
              <a:t>Project name or document title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360000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>
              <a:latin typeface="+mn-lt"/>
              <a:sym typeface="+mn-lt"/>
            </a:endParaRPr>
          </a:p>
        </p:txBody>
      </p:sp>
      <p:sp>
        <p:nvSpPr>
          <p:cNvPr id="11" name="Client name"/>
          <p:cNvSpPr>
            <a:spLocks noGrp="1"/>
          </p:cNvSpPr>
          <p:nvPr>
            <p:ph type="body" sz="quarter" idx="19" hasCustomPrompt="1"/>
          </p:nvPr>
        </p:nvSpPr>
        <p:spPr>
          <a:xfrm>
            <a:off x="359998" y="5336011"/>
            <a:ext cx="3251303" cy="473604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baseline="0"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Client logo/nam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972000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º›</a:t>
            </a:fld>
            <a:endParaRPr lang="en-US" dirty="0">
              <a:latin typeface="+mn-lt"/>
            </a:endParaRPr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738000" y="1710000"/>
            <a:ext cx="8535600" cy="3448573"/>
          </a:xfrm>
        </p:spPr>
        <p:txBody>
          <a:bodyPr>
            <a:spAutoFit/>
          </a:bodyPr>
          <a:lstStyle>
            <a:lvl1pPr marL="360000" indent="-360000">
              <a:spcBef>
                <a:spcPts val="2000"/>
              </a:spcBef>
              <a:tabLst>
                <a:tab pos="8537575" algn="r"/>
              </a:tabLst>
              <a:defRPr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720000" indent="-360000">
              <a:spcBef>
                <a:spcPts val="600"/>
              </a:spcBef>
              <a:buNone/>
              <a:tabLst>
                <a:tab pos="8537575" algn="r"/>
              </a:tabLst>
              <a:defRPr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260000" indent="-540000">
              <a:spcBef>
                <a:spcPts val="0"/>
              </a:spcBef>
              <a:buNone/>
              <a:tabLst>
                <a:tab pos="8537575" algn="r"/>
              </a:tabLst>
              <a:defRPr>
                <a:solidFill>
                  <a:schemeClr val="tx1"/>
                </a:solidFill>
                <a:latin typeface="+mn-lt"/>
                <a:sym typeface="+mn-lt"/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38000" y="1040400"/>
            <a:ext cx="8535600" cy="30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532813" algn="r"/>
              </a:tabLst>
              <a:defRPr/>
            </a:pPr>
            <a:r>
              <a:rPr kumimoji="0" lang="en-US" altLang="de-DE" sz="2100" b="0" i="0" u="none" strike="noStrike" kern="1200" cap="none" spc="0" normalizeH="0" baseline="0" noProof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n-cs"/>
                <a:sym typeface="+mn-lt"/>
              </a:rPr>
              <a:t>Conteúdo	Página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314902" y="1040400"/>
            <a:ext cx="792000" cy="30053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/>
              <a:defRPr lang="en-US" sz="2100" b="0" kern="1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r>
              <a:rPr lang="en-US" noProof="1"/>
              <a:t>  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F4BF81A6-0E5C-F043-8EB5-5970CE569F3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6392" y="279102"/>
            <a:ext cx="1097334" cy="33274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972000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º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972000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º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pic>
        <p:nvPicPr>
          <p:cNvPr id="6" name="Bild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2450" y="210859"/>
            <a:ext cx="945219" cy="46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9479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738780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42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!!!Do not delete this text object!!!!_2" hidden="1"/>
          <p:cNvSpPr/>
          <p:nvPr/>
        </p:nvSpPr>
        <p:spPr>
          <a:xfrm>
            <a:off x="9972000" y="57955"/>
            <a:ext cx="32400" cy="324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3000"/>
              </a:lnSpc>
              <a:spcBef>
                <a:spcPts val="300"/>
              </a:spcBef>
            </a:pPr>
            <a:r>
              <a:rPr lang="en-US" sz="2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9972000" y="92737"/>
            <a:ext cx="585097" cy="3077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  <a:tabLst/>
              <a:defRPr/>
            </a:pPr>
            <a:r>
              <a:rPr lang="en-US" sz="200" b="0" kern="1200" noProof="1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A4_RBSC_PPT– 2013-10_v01 –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9385300" y="6710400"/>
            <a:ext cx="117020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3" name="Slide Number Line"/>
          <p:cNvSpPr>
            <a:spLocks noChangeShapeType="1"/>
          </p:cNvSpPr>
          <p:nvPr/>
        </p:nvSpPr>
        <p:spPr bwMode="auto">
          <a:xfrm>
            <a:off x="9269413" y="6710400"/>
            <a:ext cx="0" cy="123825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defRPr/>
            </a:pPr>
            <a:endParaRPr lang="en-US" sz="900" noProof="1">
              <a:solidFill>
                <a:schemeClr val="tx2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57" name="Source" hidden="1"/>
          <p:cNvSpPr txBox="1"/>
          <p:nvPr/>
        </p:nvSpPr>
        <p:spPr>
          <a:xfrm>
            <a:off x="738189" y="6710121"/>
            <a:ext cx="496931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900" b="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Source: xxx</a:t>
            </a:r>
          </a:p>
        </p:txBody>
      </p:sp>
      <p:sp>
        <p:nvSpPr>
          <p:cNvPr id="56" name="Notes" hidden="1"/>
          <p:cNvSpPr txBox="1"/>
          <p:nvPr/>
        </p:nvSpPr>
        <p:spPr>
          <a:xfrm>
            <a:off x="738189" y="6417474"/>
            <a:ext cx="280526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1000" b="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738189" y="6195259"/>
            <a:ext cx="644699" cy="146050"/>
            <a:chOff x="738189" y="6195259"/>
            <a:chExt cx="644699" cy="146050"/>
          </a:xfrm>
        </p:grpSpPr>
        <p:sp>
          <p:nvSpPr>
            <p:cNvPr id="49" name="LegendIcon"/>
            <p:cNvSpPr/>
            <p:nvPr/>
          </p:nvSpPr>
          <p:spPr>
            <a:xfrm>
              <a:off x="738189" y="6195259"/>
              <a:ext cx="215900" cy="14605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6639" y="6196726"/>
              <a:ext cx="346249" cy="143116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+mn-cs"/>
                  <a:sym typeface="+mn-lt"/>
                </a:rPr>
                <a:t>Legend</a:t>
              </a:r>
            </a:p>
          </p:txBody>
        </p:sp>
      </p:grpSp>
      <p:sp>
        <p:nvSpPr>
          <p:cNvPr id="45" name="Formatted_text" hidden="1"/>
          <p:cNvSpPr txBox="1">
            <a:spLocks/>
          </p:cNvSpPr>
          <p:nvPr/>
        </p:nvSpPr>
        <p:spPr>
          <a:xfrm>
            <a:off x="738189" y="2158952"/>
            <a:ext cx="1980000" cy="103823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500" b="1" dirty="0">
                <a:latin typeface="+mn-lt"/>
                <a:cs typeface="+mn-cs"/>
                <a:sym typeface="+mn-lt"/>
              </a:rPr>
              <a:t>15 Point Text: Level 0</a:t>
            </a:r>
            <a:endParaRPr lang="en-US" sz="1500" b="0" dirty="0">
              <a:latin typeface="+mn-lt"/>
              <a:cs typeface="+mn-cs"/>
              <a:sym typeface="+mn-lt"/>
            </a:endParaRPr>
          </a:p>
          <a:p>
            <a:pPr marL="164571" lvl="1" indent="-16457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en-US" sz="1500" b="0" dirty="0">
                <a:latin typeface="+mn-lt"/>
                <a:cs typeface="+mn-cs"/>
                <a:sym typeface="+mn-lt"/>
              </a:rPr>
              <a:t>Level 1</a:t>
            </a:r>
          </a:p>
          <a:p>
            <a:pPr marL="344571" lvl="2" indent="-167142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en-US" sz="1500" b="0" dirty="0">
                <a:latin typeface="+mn-lt"/>
                <a:cs typeface="+mn-cs"/>
                <a:sym typeface="+mn-lt"/>
              </a:rPr>
              <a:t>Level 2</a:t>
            </a:r>
          </a:p>
          <a:p>
            <a:pPr marL="498857" lvl="3" indent="-144000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en-US" sz="1500" b="0" dirty="0">
                <a:latin typeface="+mn-lt"/>
                <a:cs typeface="+mn-cs"/>
                <a:sym typeface="+mn-lt"/>
              </a:rPr>
              <a:t>Level 3</a:t>
            </a:r>
          </a:p>
        </p:txBody>
      </p:sp>
      <p:sp>
        <p:nvSpPr>
          <p:cNvPr id="51" name="Subtitle" hidden="1"/>
          <p:cNvSpPr txBox="1">
            <a:spLocks/>
          </p:cNvSpPr>
          <p:nvPr/>
        </p:nvSpPr>
        <p:spPr>
          <a:xfrm>
            <a:off x="738000" y="1710000"/>
            <a:ext cx="8535988" cy="30053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2100" b="0" dirty="0">
                <a:solidFill>
                  <a:schemeClr val="tx2"/>
                </a:solidFill>
                <a:latin typeface="+mn-lt"/>
                <a:cs typeface="+mn-cs"/>
                <a:sym typeface="+mn-lt"/>
              </a:rPr>
              <a:t>Subtit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738000" y="1710000"/>
            <a:ext cx="8535988" cy="143295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738000" y="720000"/>
            <a:ext cx="8535988" cy="747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9" name="Drawing grid" hidden="1"/>
          <p:cNvGrpSpPr/>
          <p:nvPr/>
        </p:nvGrpSpPr>
        <p:grpSpPr>
          <a:xfrm>
            <a:off x="0" y="0"/>
            <a:ext cx="9906000" cy="6858000"/>
            <a:chOff x="0" y="0"/>
            <a:chExt cx="9906000" cy="6858000"/>
          </a:xfrm>
        </p:grpSpPr>
        <p:cxnSp>
          <p:nvCxnSpPr>
            <p:cNvPr id="66" name="!!!Do not delete!!!" hidden="1"/>
            <p:cNvCxnSpPr/>
            <p:nvPr userDrawn="1"/>
          </p:nvCxnSpPr>
          <p:spPr>
            <a:xfrm>
              <a:off x="0" y="309409"/>
              <a:ext cx="92694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 hidden="1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!!!Do not delete!!!" hidden="1"/>
            <p:cNvCxnSpPr/>
            <p:nvPr/>
          </p:nvCxnSpPr>
          <p:spPr>
            <a:xfrm>
              <a:off x="1083600" y="0"/>
              <a:ext cx="0" cy="496568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!!!Do not delete!!!" hidden="1"/>
            <p:cNvCxnSpPr/>
            <p:nvPr/>
          </p:nvCxnSpPr>
          <p:spPr>
            <a:xfrm>
              <a:off x="0" y="222248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!!!Do not delete!!!" hidden="1"/>
            <p:cNvCxnSpPr/>
            <p:nvPr/>
          </p:nvCxnSpPr>
          <p:spPr>
            <a:xfrm>
              <a:off x="0" y="66675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!!!Do not delete!!!" hidden="1"/>
            <p:cNvCxnSpPr/>
            <p:nvPr/>
          </p:nvCxnSpPr>
          <p:spPr>
            <a:xfrm>
              <a:off x="0" y="641880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!!!Do not delete!!!" hidden="1"/>
            <p:cNvCxnSpPr/>
            <p:nvPr/>
          </p:nvCxnSpPr>
          <p:spPr>
            <a:xfrm>
              <a:off x="0" y="171000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!!!Do not delete!!!" hidden="1"/>
            <p:cNvCxnSpPr/>
            <p:nvPr/>
          </p:nvCxnSpPr>
          <p:spPr>
            <a:xfrm>
              <a:off x="548711" y="2178000"/>
              <a:ext cx="8939211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 hidden="1"/>
            <p:cNvGrpSpPr/>
            <p:nvPr userDrawn="1"/>
          </p:nvGrpSpPr>
          <p:grpSpPr>
            <a:xfrm>
              <a:off x="8495656" y="1"/>
              <a:ext cx="236220" cy="670560"/>
              <a:chOff x="8321029" y="0"/>
              <a:chExt cx="236220" cy="719149"/>
            </a:xfrm>
          </p:grpSpPr>
          <p:cxnSp>
            <p:nvCxnSpPr>
              <p:cNvPr id="68" name="!!!Do not delete!!!" hidden="1"/>
              <p:cNvCxnSpPr>
                <a:cxnSpLocks/>
              </p:cNvCxnSpPr>
              <p:nvPr userDrawn="1"/>
            </p:nvCxnSpPr>
            <p:spPr>
              <a:xfrm>
                <a:off x="8321029" y="0"/>
                <a:ext cx="0" cy="719149"/>
              </a:xfrm>
              <a:prstGeom prst="line">
                <a:avLst/>
              </a:prstGeom>
              <a:ln w="3175" cap="sq">
                <a:solidFill>
                  <a:schemeClr val="accent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!!!Do not delete!!!" hidden="1"/>
              <p:cNvCxnSpPr>
                <a:cxnSpLocks/>
              </p:cNvCxnSpPr>
              <p:nvPr userDrawn="1"/>
            </p:nvCxnSpPr>
            <p:spPr>
              <a:xfrm>
                <a:off x="8557249" y="0"/>
                <a:ext cx="0" cy="719149"/>
              </a:xfrm>
              <a:prstGeom prst="line">
                <a:avLst/>
              </a:prstGeom>
              <a:ln w="3175" cap="sq">
                <a:solidFill>
                  <a:schemeClr val="accent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7" name="!!!Do not delete!!!" hidden="1"/>
            <p:cNvCxnSpPr/>
            <p:nvPr userDrawn="1"/>
          </p:nvCxnSpPr>
          <p:spPr>
            <a:xfrm>
              <a:off x="0" y="574673"/>
              <a:ext cx="92694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 hidden="1"/>
            <p:cNvSpPr>
              <a:spLocks/>
            </p:cNvSpPr>
            <p:nvPr userDrawn="1"/>
          </p:nvSpPr>
          <p:spPr>
            <a:xfrm>
              <a:off x="736600" y="222248"/>
              <a:ext cx="274320" cy="274320"/>
            </a:xfrm>
            <a:prstGeom prst="rect">
              <a:avLst/>
            </a:prstGeom>
            <a:noFill/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108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en-US" sz="1500" b="0" dirty="0"/>
            </a:p>
          </p:txBody>
        </p:sp>
      </p:grpSp>
      <p:sp>
        <p:nvSpPr>
          <p:cNvPr id="6" name="rbStamp_Workinprogress" hidden="1"/>
          <p:cNvSpPr txBox="1"/>
          <p:nvPr userDrawn="1"/>
        </p:nvSpPr>
        <p:spPr>
          <a:xfrm rot="16200000">
            <a:off x="-3330000" y="3333600"/>
            <a:ext cx="6858000" cy="1944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100" b="1" noProof="0" dirty="0">
                <a:solidFill>
                  <a:schemeClr val="dk1"/>
                </a:solidFill>
                <a:latin typeface="+mn-lt"/>
                <a:cs typeface="Arial Narrow" pitchFamily="34" charset="0"/>
              </a:rPr>
              <a:t>Work in progres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40" r:id="rId1"/>
    <p:sldLayoutId id="2147484741" r:id="rId2"/>
    <p:sldLayoutId id="2147484742" r:id="rId3"/>
    <p:sldLayoutId id="2147484743" r:id="rId4"/>
    <p:sldLayoutId id="2147484744" r:id="rId5"/>
    <p:sldLayoutId id="2147484746" r:id="rId6"/>
    <p:sldLayoutId id="2147484747" r:id="rId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00" b="0" kern="1200" baseline="0" dirty="0">
          <a:solidFill>
            <a:schemeClr val="tx1"/>
          </a:solidFill>
          <a:latin typeface="+mj-lt"/>
          <a:ea typeface="+mj-ea"/>
          <a:cs typeface="+mj-cs"/>
          <a:sym typeface="+mn-lt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 typeface="Arial Narrow" pitchFamily="34" charset="0"/>
        <a:buNone/>
        <a:defRPr lang="en-US" sz="2100" b="0" i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30400" indent="-230400" algn="l" defTabSz="914400" rtl="0" eaLnBrk="1" latinLnBrk="0" hangingPunct="1">
        <a:lnSpc>
          <a:spcPct val="90000"/>
        </a:lnSpc>
        <a:spcBef>
          <a:spcPts val="1200"/>
        </a:spcBef>
        <a:buFont typeface="Arial Narrow" pitchFamily="34" charset="0"/>
        <a:buChar char="&gt;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482400" indent="-234000" algn="l" defTabSz="914400" rtl="0" eaLnBrk="1" latinLnBrk="0" hangingPunct="1">
        <a:lnSpc>
          <a:spcPct val="90000"/>
        </a:lnSpc>
        <a:spcBef>
          <a:spcPts val="400"/>
        </a:spcBef>
        <a:buFont typeface="Arial Narrow" pitchFamily="34" charset="0"/>
        <a:buChar char="–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698400" indent="-201600" algn="l" defTabSz="914400" rtl="0" eaLnBrk="1" latinLnBrk="0" hangingPunct="1">
        <a:lnSpc>
          <a:spcPct val="90000"/>
        </a:lnSpc>
        <a:spcBef>
          <a:spcPts val="200"/>
        </a:spcBef>
        <a:buFont typeface="Arial Narrow" pitchFamily="34" charset="0"/>
        <a:buChar char="-"/>
        <a:defRPr lang="en-US" sz="2100" b="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98400" indent="0" algn="l" defTabSz="914400" rtl="0" eaLnBrk="1" latinLnBrk="0" hangingPunct="1">
        <a:lnSpc>
          <a:spcPct val="93000"/>
        </a:lnSpc>
        <a:spcBef>
          <a:spcPts val="0"/>
        </a:spcBef>
        <a:buFont typeface="Arial Narrow" pitchFamily="34" charset="0"/>
        <a:buNone/>
        <a:defRPr sz="17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 Narrow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 Narrow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 Narrow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 Narrow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1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10" Type="http://schemas.openxmlformats.org/officeDocument/2006/relationships/hyperlink" Target="https://heloisadutcosky.shinyapps.io/crypto/" TargetMode="External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0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AD8E4B8F-0C66-3847-8CF5-89E4EEC25D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148A7ACA-3F18-D34A-802E-79A975728ABE}"/>
              </a:ext>
            </a:extLst>
          </p:cNvPr>
          <p:cNvSpPr/>
          <p:nvPr/>
        </p:nvSpPr>
        <p:spPr>
          <a:xfrm>
            <a:off x="-1" y="0"/>
            <a:ext cx="37338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4E117D7F-C663-B04E-9A79-57DAD367D48A}"/>
              </a:ext>
            </a:extLst>
          </p:cNvPr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>
              <a:alpha val="61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933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19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How a mention on a coin impacts its volatility?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noFill/>
        </p:spPr>
        <p:txBody>
          <a:bodyPr/>
          <a:lstStyle/>
          <a:p>
            <a:r>
              <a:rPr lang="en-US" dirty="0"/>
              <a:t>New York, November 1</a:t>
            </a:r>
            <a:r>
              <a:rPr lang="en-US" baseline="30000" dirty="0"/>
              <a:t>st</a:t>
            </a:r>
            <a:r>
              <a:rPr lang="en-US" dirty="0"/>
              <a:t> 2018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2332270"/>
            <a:ext cx="3611301" cy="2049792"/>
          </a:xfrm>
        </p:spPr>
        <p:txBody>
          <a:bodyPr/>
          <a:lstStyle/>
          <a:p>
            <a:r>
              <a:rPr lang="en-US" dirty="0"/>
              <a:t>Cryptocurrency market relation with news and social media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Heloisa Dutcosky</a:t>
            </a:r>
          </a:p>
        </p:txBody>
      </p:sp>
    </p:spTree>
    <p:extLst>
      <p:ext uri="{BB962C8B-B14F-4D97-AF65-F5344CB8AC3E}">
        <p14:creationId xmlns:p14="http://schemas.microsoft.com/office/powerpoint/2010/main" val="1226965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1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8" y="720012"/>
            <a:ext cx="8753315" cy="747897"/>
          </a:xfrm>
        </p:spPr>
        <p:txBody>
          <a:bodyPr/>
          <a:lstStyle/>
          <a:p>
            <a:r>
              <a:rPr lang="pt-BR" dirty="0" err="1"/>
              <a:t>Smaller</a:t>
            </a:r>
            <a:r>
              <a:rPr lang="pt-BR" dirty="0"/>
              <a:t> </a:t>
            </a:r>
            <a:r>
              <a:rPr lang="pt-BR" dirty="0" err="1"/>
              <a:t>coins</a:t>
            </a:r>
            <a:r>
              <a:rPr lang="pt-BR" dirty="0"/>
              <a:t> </a:t>
            </a:r>
            <a:r>
              <a:rPr lang="pt-BR"/>
              <a:t>movement </a:t>
            </a:r>
            <a:r>
              <a:rPr lang="pt-BR" dirty="0"/>
              <a:t>are a </a:t>
            </a:r>
            <a:r>
              <a:rPr lang="pt-BR" dirty="0" err="1"/>
              <a:t>function</a:t>
            </a:r>
            <a:r>
              <a:rPr lang="pt-BR" dirty="0"/>
              <a:t> </a:t>
            </a:r>
            <a:r>
              <a:rPr lang="pt-BR" dirty="0" err="1"/>
              <a:t>of</a:t>
            </a:r>
            <a:r>
              <a:rPr lang="pt-BR" dirty="0"/>
              <a:t> </a:t>
            </a:r>
            <a:r>
              <a:rPr lang="pt-BR" dirty="0" err="1"/>
              <a:t>Bitcoin’s</a:t>
            </a:r>
            <a:r>
              <a:rPr lang="pt-BR" dirty="0"/>
              <a:t> </a:t>
            </a:r>
            <a:r>
              <a:rPr lang="pt-BR" dirty="0" err="1"/>
              <a:t>movements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</a:t>
            </a:r>
            <a:r>
              <a:rPr lang="pt-BR" dirty="0" err="1"/>
              <a:t>their</a:t>
            </a:r>
            <a:r>
              <a:rPr lang="pt-BR" dirty="0"/>
              <a:t> </a:t>
            </a:r>
            <a:r>
              <a:rPr lang="pt-BR" dirty="0" err="1"/>
              <a:t>own</a:t>
            </a:r>
            <a:r>
              <a:rPr lang="pt-BR" dirty="0"/>
              <a:t> </a:t>
            </a:r>
            <a:r>
              <a:rPr lang="pt-BR" dirty="0" err="1"/>
              <a:t>mentions</a:t>
            </a:r>
            <a:r>
              <a:rPr lang="pt-BR" dirty="0"/>
              <a:t> </a:t>
            </a:r>
            <a:r>
              <a:rPr lang="pt-BR" dirty="0" err="1"/>
              <a:t>on</a:t>
            </a:r>
            <a:r>
              <a:rPr lang="pt-BR" dirty="0"/>
              <a:t> </a:t>
            </a:r>
            <a:r>
              <a:rPr lang="pt-BR" dirty="0" err="1"/>
              <a:t>news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social media</a:t>
            </a:r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 err="1">
                <a:solidFill>
                  <a:schemeClr val="tx2"/>
                </a:solidFill>
                <a:sym typeface="+mn-lt"/>
              </a:rPr>
              <a:t>Correlation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between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smaller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coins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’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volatility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,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Bitcoin’s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movements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and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their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news</a:t>
            </a:r>
            <a:endParaRPr lang="pt-BR" sz="2100" b="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537F03C-627E-654B-9257-DBF34DF8589D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DB4FF27B-B7FE-5648-A33A-3F47845EC2F0}"/>
              </a:ext>
            </a:extLst>
          </p:cNvPr>
          <p:cNvSpPr txBox="1">
            <a:spLocks/>
          </p:cNvSpPr>
          <p:nvPr/>
        </p:nvSpPr>
        <p:spPr>
          <a:xfrm>
            <a:off x="646428" y="296880"/>
            <a:ext cx="4346269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Results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7DC0F9F6-BB20-844D-B1A2-2760E28BB3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697" y="2485313"/>
            <a:ext cx="4445000" cy="166370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3807FB6C-209A-714A-947E-2DBDA2D053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7697" y="4352824"/>
            <a:ext cx="4445000" cy="2186264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2EB99AD8-B470-B642-B021-CC000A7A0D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14665" y="2485313"/>
            <a:ext cx="4445000" cy="1663700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D600ADE2-C9DD-0347-936F-297434DA02C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14665" y="4352824"/>
            <a:ext cx="4376658" cy="2152650"/>
          </a:xfrm>
          <a:prstGeom prst="rect">
            <a:avLst/>
          </a:prstGeom>
        </p:spPr>
      </p:pic>
      <p:sp>
        <p:nvSpPr>
          <p:cNvPr id="12" name="Subtitle">
            <a:extLst>
              <a:ext uri="{FF2B5EF4-FFF2-40B4-BE49-F238E27FC236}">
                <a16:creationId xmlns:a16="http://schemas.microsoft.com/office/drawing/2014/main" id="{AFA9F9C1-ABA6-4B43-9558-A5E251B18AF5}"/>
              </a:ext>
            </a:extLst>
          </p:cNvPr>
          <p:cNvSpPr txBox="1">
            <a:spLocks/>
          </p:cNvSpPr>
          <p:nvPr/>
        </p:nvSpPr>
        <p:spPr>
          <a:xfrm>
            <a:off x="547697" y="2220032"/>
            <a:ext cx="44450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First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scenario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– TOP 10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without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bitcoin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volatility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as a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variable</a:t>
            </a:r>
            <a:endParaRPr lang="pt-BR" sz="1400" dirty="0">
              <a:solidFill>
                <a:schemeClr val="accent4">
                  <a:lumMod val="25000"/>
                </a:schemeClr>
              </a:solidFill>
              <a:sym typeface="+mn-lt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F198A172-A112-C445-89E9-7DE66962BAB6}"/>
              </a:ext>
            </a:extLst>
          </p:cNvPr>
          <p:cNvSpPr txBox="1">
            <a:spLocks/>
          </p:cNvSpPr>
          <p:nvPr/>
        </p:nvSpPr>
        <p:spPr>
          <a:xfrm>
            <a:off x="5080494" y="2220032"/>
            <a:ext cx="44450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First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scenario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– TOP 10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without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bitcoin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volatility</a:t>
            </a:r>
            <a:r>
              <a:rPr lang="pt-BR" sz="1400" dirty="0">
                <a:solidFill>
                  <a:schemeClr val="accent4">
                    <a:lumMod val="25000"/>
                  </a:schemeClr>
                </a:solidFill>
                <a:sym typeface="+mn-lt"/>
              </a:rPr>
              <a:t> as a </a:t>
            </a:r>
            <a:r>
              <a:rPr lang="pt-BR" sz="1400" dirty="0" err="1">
                <a:solidFill>
                  <a:schemeClr val="accent4">
                    <a:lumMod val="25000"/>
                  </a:schemeClr>
                </a:solidFill>
                <a:sym typeface="+mn-lt"/>
              </a:rPr>
              <a:t>variable</a:t>
            </a:r>
            <a:endParaRPr lang="pt-BR" sz="1400" dirty="0">
              <a:solidFill>
                <a:schemeClr val="accent4">
                  <a:lumMod val="25000"/>
                </a:scheme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35934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9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92336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965328"/>
              </p:ext>
            </p:extLst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81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8" y="720012"/>
            <a:ext cx="8753315" cy="747897"/>
          </a:xfrm>
        </p:spPr>
        <p:txBody>
          <a:bodyPr/>
          <a:lstStyle/>
          <a:p>
            <a:r>
              <a:rPr lang="pt-BR" dirty="0" err="1"/>
              <a:t>Cryptocurrencies</a:t>
            </a:r>
            <a:r>
              <a:rPr lang="pt-BR" dirty="0"/>
              <a:t> </a:t>
            </a:r>
            <a:r>
              <a:rPr lang="pt-BR" dirty="0" err="1"/>
              <a:t>have</a:t>
            </a:r>
            <a:r>
              <a:rPr lang="pt-BR" dirty="0"/>
              <a:t> </a:t>
            </a:r>
            <a:r>
              <a:rPr lang="pt-BR" dirty="0" err="1"/>
              <a:t>already</a:t>
            </a:r>
            <a:r>
              <a:rPr lang="pt-BR" dirty="0"/>
              <a:t> </a:t>
            </a:r>
            <a:r>
              <a:rPr lang="pt-BR" dirty="0" err="1"/>
              <a:t>raised</a:t>
            </a:r>
            <a:r>
              <a:rPr lang="pt-BR" dirty="0"/>
              <a:t> $21B US in 2018 </a:t>
            </a:r>
            <a:r>
              <a:rPr lang="pt-BR" dirty="0" err="1"/>
              <a:t>through</a:t>
            </a:r>
            <a:r>
              <a:rPr lang="pt-BR" dirty="0"/>
              <a:t> </a:t>
            </a:r>
            <a:r>
              <a:rPr lang="pt-BR" dirty="0" err="1"/>
              <a:t>ICOs</a:t>
            </a:r>
            <a:r>
              <a:rPr lang="pt-BR" dirty="0"/>
              <a:t>, </a:t>
            </a:r>
            <a:r>
              <a:rPr lang="pt-BR" dirty="0" err="1"/>
              <a:t>yet</a:t>
            </a:r>
            <a:r>
              <a:rPr lang="pt-BR" dirty="0"/>
              <a:t> </a:t>
            </a:r>
            <a:r>
              <a:rPr lang="pt-BR" dirty="0" err="1"/>
              <a:t>very</a:t>
            </a:r>
            <a:r>
              <a:rPr lang="pt-BR" dirty="0"/>
              <a:t> </a:t>
            </a:r>
            <a:r>
              <a:rPr lang="pt-BR" dirty="0" err="1"/>
              <a:t>few</a:t>
            </a:r>
            <a:r>
              <a:rPr lang="pt-BR" dirty="0"/>
              <a:t> </a:t>
            </a:r>
            <a:r>
              <a:rPr lang="pt-BR" dirty="0" err="1"/>
              <a:t>governments</a:t>
            </a:r>
            <a:r>
              <a:rPr lang="pt-BR" dirty="0"/>
              <a:t> </a:t>
            </a:r>
            <a:r>
              <a:rPr lang="pt-BR" dirty="0" err="1"/>
              <a:t>have</a:t>
            </a:r>
            <a:r>
              <a:rPr lang="pt-BR" dirty="0"/>
              <a:t> </a:t>
            </a:r>
            <a:r>
              <a:rPr lang="pt-BR" dirty="0" err="1"/>
              <a:t>seriously</a:t>
            </a:r>
            <a:r>
              <a:rPr lang="pt-BR" dirty="0"/>
              <a:t> </a:t>
            </a:r>
            <a:r>
              <a:rPr lang="pt-BR" dirty="0" err="1"/>
              <a:t>discussed</a:t>
            </a:r>
            <a:r>
              <a:rPr lang="pt-BR" dirty="0"/>
              <a:t> it</a:t>
            </a:r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Context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overview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140B6A1-6669-7246-8E3A-F4A5F42E5846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C259FC0A-D54B-D244-B984-62E0F186A19C}"/>
              </a:ext>
            </a:extLst>
          </p:cNvPr>
          <p:cNvSpPr txBox="1">
            <a:spLocks/>
          </p:cNvSpPr>
          <p:nvPr/>
        </p:nvSpPr>
        <p:spPr>
          <a:xfrm>
            <a:off x="646429" y="296880"/>
            <a:ext cx="517350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Context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CE87E64D-8130-2645-A00D-7481B5F24A2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36"/>
          <a:stretch/>
        </p:blipFill>
        <p:spPr>
          <a:xfrm>
            <a:off x="738000" y="2757795"/>
            <a:ext cx="5345300" cy="2822479"/>
          </a:xfrm>
          <a:prstGeom prst="rect">
            <a:avLst/>
          </a:prstGeom>
        </p:spPr>
      </p:pic>
      <p:sp>
        <p:nvSpPr>
          <p:cNvPr id="15" name="Source">
            <a:extLst>
              <a:ext uri="{FF2B5EF4-FFF2-40B4-BE49-F238E27FC236}">
                <a16:creationId xmlns:a16="http://schemas.microsoft.com/office/drawing/2014/main" id="{5A562549-29D1-4C4D-A6F8-38E5A4B9461B}"/>
              </a:ext>
            </a:extLst>
          </p:cNvPr>
          <p:cNvSpPr txBox="1"/>
          <p:nvPr/>
        </p:nvSpPr>
        <p:spPr>
          <a:xfrm>
            <a:off x="738200" y="6710122"/>
            <a:ext cx="1586973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pt-BR" sz="900" b="0" dirty="0" err="1">
                <a:latin typeface="+mn-lt"/>
                <a:sym typeface="+mn-lt"/>
              </a:rPr>
              <a:t>Source</a:t>
            </a:r>
            <a:r>
              <a:rPr lang="pt-BR" sz="900" b="0" dirty="0">
                <a:latin typeface="+mn-lt"/>
                <a:sym typeface="+mn-lt"/>
              </a:rPr>
              <a:t>: </a:t>
            </a:r>
            <a:r>
              <a:rPr lang="pt-BR" sz="900" b="0" dirty="0" err="1">
                <a:latin typeface="+mn-lt"/>
                <a:sym typeface="+mn-lt"/>
              </a:rPr>
              <a:t>CoinSchedule</a:t>
            </a:r>
            <a:r>
              <a:rPr lang="pt-BR" sz="900" b="0" dirty="0">
                <a:latin typeface="+mn-lt"/>
                <a:sym typeface="+mn-lt"/>
              </a:rPr>
              <a:t>, </a:t>
            </a:r>
            <a:r>
              <a:rPr lang="pt-BR" sz="900" b="0" dirty="0" err="1">
                <a:latin typeface="+mn-lt"/>
                <a:sym typeface="+mn-lt"/>
              </a:rPr>
              <a:t>Cointelegraph</a:t>
            </a:r>
            <a:endParaRPr lang="pt-BR" sz="900" b="0" dirty="0">
              <a:latin typeface="+mn-lt"/>
              <a:sym typeface="+mn-lt"/>
            </a:endParaRP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16BAC0A6-B014-0944-9E7F-B18ABDE65165}"/>
              </a:ext>
            </a:extLst>
          </p:cNvPr>
          <p:cNvSpPr txBox="1">
            <a:spLocks/>
          </p:cNvSpPr>
          <p:nvPr/>
        </p:nvSpPr>
        <p:spPr>
          <a:xfrm>
            <a:off x="738001" y="2345897"/>
            <a:ext cx="5777100" cy="2354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1700" dirty="0" err="1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ICO’s</a:t>
            </a:r>
            <a:r>
              <a:rPr lang="pt-BR" sz="1700" dirty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 </a:t>
            </a:r>
            <a:r>
              <a:rPr lang="pt-BR" sz="1700" dirty="0" err="1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stats</a:t>
            </a:r>
            <a:r>
              <a:rPr lang="pt-BR" sz="1700" dirty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 2018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5608B987-4BDB-274D-91D4-04D322B1F6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697" y="3955528"/>
            <a:ext cx="3207634" cy="357167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CDA4C8BE-EFE7-1D42-A014-86B19B1084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428" y="3325715"/>
            <a:ext cx="3752561" cy="396612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126A415A-CA34-A846-A34E-A9B96E7DA35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838" y="2715817"/>
            <a:ext cx="3590493" cy="380810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FEA3E9AD-C510-CE4E-8E7D-3906D2E406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428" y="4613351"/>
            <a:ext cx="3632243" cy="374231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092ED08A-011C-7643-823D-21B1E427158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9348" y="5256150"/>
            <a:ext cx="3191975" cy="399958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B3CA918F-19C8-DB44-BD57-03018061E6A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428" y="5887148"/>
            <a:ext cx="3632243" cy="401012"/>
          </a:xfrm>
          <a:prstGeom prst="rect">
            <a:avLst/>
          </a:prstGeom>
        </p:spPr>
      </p:pic>
      <p:sp>
        <p:nvSpPr>
          <p:cNvPr id="37" name="Subtitle">
            <a:extLst>
              <a:ext uri="{FF2B5EF4-FFF2-40B4-BE49-F238E27FC236}">
                <a16:creationId xmlns:a16="http://schemas.microsoft.com/office/drawing/2014/main" id="{64326ABE-2F80-E74E-8144-FD7FA5ABC339}"/>
              </a:ext>
            </a:extLst>
          </p:cNvPr>
          <p:cNvSpPr txBox="1">
            <a:spLocks/>
          </p:cNvSpPr>
          <p:nvPr/>
        </p:nvSpPr>
        <p:spPr>
          <a:xfrm>
            <a:off x="5924838" y="2285685"/>
            <a:ext cx="3566485" cy="2354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1700" dirty="0" err="1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Governments</a:t>
            </a:r>
            <a:r>
              <a:rPr lang="pt-BR" sz="1700" dirty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 </a:t>
            </a:r>
            <a:r>
              <a:rPr lang="pt-BR" sz="1700" dirty="0" err="1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news</a:t>
            </a:r>
            <a:r>
              <a:rPr lang="pt-BR" sz="1700" dirty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 </a:t>
            </a:r>
            <a:r>
              <a:rPr lang="pt-BR" sz="1700" dirty="0" err="1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  <a:sym typeface="+mn-lt"/>
              </a:rPr>
              <a:t>samples</a:t>
            </a:r>
            <a:endParaRPr lang="pt-BR" sz="1700" dirty="0">
              <a:solidFill>
                <a:schemeClr val="accent3">
                  <a:lumMod val="90000"/>
                  <a:lumOff val="10000"/>
                </a:schemeClr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10514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2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8" y="720012"/>
            <a:ext cx="8670951" cy="747897"/>
          </a:xfrm>
        </p:spPr>
        <p:txBody>
          <a:bodyPr/>
          <a:lstStyle/>
          <a:p>
            <a:r>
              <a:rPr lang="pt-BR" dirty="0"/>
              <a:t>A </a:t>
            </a:r>
            <a:r>
              <a:rPr lang="pt-BR" dirty="0" err="1"/>
              <a:t>coin’s</a:t>
            </a:r>
            <a:r>
              <a:rPr lang="pt-BR" dirty="0"/>
              <a:t> </a:t>
            </a:r>
            <a:r>
              <a:rPr lang="pt-BR" dirty="0" err="1"/>
              <a:t>value</a:t>
            </a:r>
            <a:r>
              <a:rPr lang="pt-BR" dirty="0"/>
              <a:t> </a:t>
            </a:r>
            <a:r>
              <a:rPr lang="pt-BR" dirty="0" err="1"/>
              <a:t>is</a:t>
            </a:r>
            <a:r>
              <a:rPr lang="pt-BR" dirty="0"/>
              <a:t> </a:t>
            </a:r>
            <a:r>
              <a:rPr lang="pt-BR" dirty="0" err="1"/>
              <a:t>mainly</a:t>
            </a:r>
            <a:r>
              <a:rPr lang="pt-BR" dirty="0"/>
              <a:t> </a:t>
            </a:r>
            <a:r>
              <a:rPr lang="pt-BR" dirty="0" err="1"/>
              <a:t>defined</a:t>
            </a:r>
            <a:r>
              <a:rPr lang="pt-BR" dirty="0"/>
              <a:t> </a:t>
            </a:r>
            <a:r>
              <a:rPr lang="pt-BR" dirty="0" err="1"/>
              <a:t>by</a:t>
            </a:r>
            <a:r>
              <a:rPr lang="pt-BR" dirty="0"/>
              <a:t> its network </a:t>
            </a:r>
            <a:r>
              <a:rPr lang="pt-BR" dirty="0" err="1"/>
              <a:t>extension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spe-culation</a:t>
            </a:r>
            <a:r>
              <a:rPr lang="pt-BR" dirty="0"/>
              <a:t> </a:t>
            </a:r>
            <a:r>
              <a:rPr lang="pt-BR" dirty="0" err="1"/>
              <a:t>on</a:t>
            </a:r>
            <a:r>
              <a:rPr lang="pt-BR" dirty="0"/>
              <a:t> it, </a:t>
            </a:r>
            <a:r>
              <a:rPr lang="pt-BR" dirty="0" err="1"/>
              <a:t>depending</a:t>
            </a:r>
            <a:r>
              <a:rPr lang="pt-BR" dirty="0"/>
              <a:t> </a:t>
            </a:r>
            <a:r>
              <a:rPr lang="pt-BR" dirty="0" err="1"/>
              <a:t>on</a:t>
            </a:r>
            <a:r>
              <a:rPr lang="pt-BR" dirty="0"/>
              <a:t> </a:t>
            </a:r>
            <a:r>
              <a:rPr lang="pt-BR" dirty="0" err="1"/>
              <a:t>adoption</a:t>
            </a:r>
            <a:r>
              <a:rPr lang="pt-BR" dirty="0"/>
              <a:t>, </a:t>
            </a:r>
            <a:r>
              <a:rPr lang="pt-BR" dirty="0" err="1"/>
              <a:t>restriction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its </a:t>
            </a:r>
            <a:r>
              <a:rPr lang="pt-BR" dirty="0" err="1"/>
              <a:t>likelihoods</a:t>
            </a:r>
            <a:endParaRPr lang="pt-BR" dirty="0"/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Cryptocurrency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value</a:t>
            </a:r>
            <a:endParaRPr lang="pt-BR" sz="2100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06C714B0-4901-7A4A-8C7E-6548C873882B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7F058669-7687-1549-9B35-698D889DEE42}"/>
              </a:ext>
            </a:extLst>
          </p:cNvPr>
          <p:cNvSpPr txBox="1">
            <a:spLocks/>
          </p:cNvSpPr>
          <p:nvPr/>
        </p:nvSpPr>
        <p:spPr>
          <a:xfrm>
            <a:off x="646429" y="296880"/>
            <a:ext cx="517350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Context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66095C73-6501-9845-9630-BC355888C1B1}"/>
                  </a:ext>
                </a:extLst>
              </p:cNvPr>
              <p:cNvSpPr txBox="1"/>
              <p:nvPr/>
            </p:nvSpPr>
            <p:spPr>
              <a:xfrm>
                <a:off x="769548" y="4463289"/>
                <a:ext cx="8607869" cy="648767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non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100" b="1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𝑽𝒐𝒍𝒂𝒕𝒊𝒍𝒊𝒕𝒚</m:t>
                      </m:r>
                      <m:r>
                        <a:rPr lang="en-US" sz="2100" b="1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2100" b="1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𝒄𝒐𝒊𝒏</m:t>
                      </m:r>
                      <m:r>
                        <a:rPr lang="en-US" sz="2100" b="1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)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210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sz="2100" i="1" noProof="0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</m:ctrlPr>
                            </m:eqArrPr>
                            <m:e>
                              <m:r>
                                <a:rPr lang="en-US" sz="2100" b="1" i="1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𝒇</m:t>
                              </m:r>
                              <m:d>
                                <m:dPr>
                                  <m:ctrlPr>
                                    <a:rPr lang="en-US" sz="2100" i="1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𝒏𝒆𝒘𝒔</m:t>
                                  </m:r>
                                  <m:r>
                                    <a:rPr lang="en-US" sz="2100" b="1" i="1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,</m:t>
                                  </m:r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𝒔𝒐𝒄𝒊𝒂𝒍</m:t>
                                  </m:r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 </m:t>
                                  </m:r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𝒎𝒆𝒅𝒊𝒂</m:t>
                                  </m:r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, …</m:t>
                                  </m:r>
                                </m:e>
                              </m:d>
                              <m:r>
                                <a:rPr lang="en-US" sz="2100" b="1" i="1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, </m:t>
                              </m:r>
                              <m:r>
                                <a:rPr lang="en-US" sz="2100" b="1" i="1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𝒄𝒐𝒊𝒏</m:t>
                              </m:r>
                              <m:r>
                                <a:rPr lang="en-US" sz="2100" b="1" i="1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=</m:t>
                              </m:r>
                              <m:r>
                                <a:rPr lang="en-US" sz="2100" b="1" i="1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𝑩𝒊𝒕𝒄𝒐𝒊𝒏</m:t>
                              </m:r>
                            </m:e>
                            <m:e>
                              <m:r>
                                <a:rPr lang="en-US" sz="2100" b="1" i="1" noProof="0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𝒇</m:t>
                              </m:r>
                              <m:d>
                                <m:dPr>
                                  <m:ctrlPr>
                                    <a:rPr lang="en-US" sz="2100" i="1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100" b="1" i="1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𝑩𝒊𝒕𝒄𝒐𝒊𝒏</m:t>
                                  </m:r>
                                  <m:r>
                                    <a:rPr lang="en-US" sz="2100" b="1" i="1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,</m:t>
                                  </m:r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𝒏𝒆𝒘𝒔</m:t>
                                  </m:r>
                                  <m:r>
                                    <a:rPr lang="en-US" sz="2100" b="1" i="1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,</m:t>
                                  </m:r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𝒔𝒐𝒄𝒊𝒂𝒍</m:t>
                                  </m:r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 </m:t>
                                  </m:r>
                                  <m:r>
                                    <a:rPr lang="en-US" sz="2100" b="1" i="1" smtClean="0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𝒎𝒆𝒅𝒊𝒂</m:t>
                                  </m:r>
                                  <m:r>
                                    <a:rPr lang="en-US" sz="2100" b="1" i="1">
                                      <a:latin typeface="Cambria Math" panose="02040503050406030204" pitchFamily="18" charset="0"/>
                                      <a:cs typeface="Arial Narrow" pitchFamily="34" charset="0"/>
                                    </a:rPr>
                                    <m:t>, …</m:t>
                                  </m:r>
                                </m:e>
                              </m:d>
                              <m:r>
                                <a:rPr lang="en-US" sz="2100" b="1" i="1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, </m:t>
                              </m:r>
                              <m:r>
                                <a:rPr lang="en-US" sz="2100" b="1" i="1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𝒄𝒐𝒊𝒏</m:t>
                              </m:r>
                              <m:r>
                                <a:rPr lang="en-US" sz="2100" b="1" i="1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=</m:t>
                              </m:r>
                              <m:r>
                                <a:rPr lang="en-US" sz="2100" b="1" i="1" smtClean="0">
                                  <a:latin typeface="Cambria Math" panose="02040503050406030204" pitchFamily="18" charset="0"/>
                                  <a:cs typeface="Arial Narrow" pitchFamily="34" charset="0"/>
                                </a:rPr>
                                <m:t>𝒐𝒕𝒉𝒆𝒓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pt-BR" sz="2100" noProof="0" dirty="0">
                  <a:latin typeface="+mn-lt"/>
                  <a:cs typeface="Arial Narrow" pitchFamily="34" charset="0"/>
                </a:endParaRPr>
              </a:p>
            </p:txBody>
          </p:sp>
        </mc:Choice>
        <mc:Fallback xmlns=""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66095C73-6501-9845-9630-BC355888C1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548" y="4463289"/>
                <a:ext cx="8607869" cy="648767"/>
              </a:xfrm>
              <a:prstGeom prst="rect">
                <a:avLst/>
              </a:prstGeom>
              <a:blipFill>
                <a:blip r:embed="rId7"/>
                <a:stretch>
                  <a:fillRect l="-590" t="-250943" r="-295" b="-349057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D769E9A4-43F2-E544-825E-149B48016CDD}"/>
                  </a:ext>
                </a:extLst>
              </p:cNvPr>
              <p:cNvSpPr txBox="1"/>
              <p:nvPr/>
            </p:nvSpPr>
            <p:spPr>
              <a:xfrm>
                <a:off x="2822418" y="5494611"/>
                <a:ext cx="4502130" cy="263149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non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N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𝑒𝑤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𝑖𝑚𝑝𝑎𝑐𝑡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=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𝑓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𝑠𝑜𝑢𝑟𝑐𝑒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𝑣𝑖𝑒𝑤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𝑐𝑜𝑛𝑡𝑒𝑛𝑡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)</m:t>
                      </m:r>
                    </m:oMath>
                  </m:oMathPara>
                </a14:m>
                <a:endParaRPr lang="pt-BR" sz="1900" b="0" noProof="0" dirty="0">
                  <a:latin typeface="+mn-lt"/>
                  <a:cs typeface="Arial Narrow" pitchFamily="34" charset="0"/>
                </a:endParaRPr>
              </a:p>
            </p:txBody>
          </p:sp>
        </mc:Choice>
        <mc:Fallback xmlns=""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D769E9A4-43F2-E544-825E-149B48016C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22418" y="5494611"/>
                <a:ext cx="4502130" cy="263149"/>
              </a:xfrm>
              <a:prstGeom prst="rect">
                <a:avLst/>
              </a:prstGeom>
              <a:blipFill>
                <a:blip r:embed="rId8"/>
                <a:stretch>
                  <a:fillRect l="-562" t="-19048" r="-1124" b="-42857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50F86D9E-ADE5-CE41-B392-E815D07AC7C2}"/>
                  </a:ext>
                </a:extLst>
              </p:cNvPr>
              <p:cNvSpPr txBox="1"/>
              <p:nvPr/>
            </p:nvSpPr>
            <p:spPr>
              <a:xfrm>
                <a:off x="1925634" y="6140315"/>
                <a:ext cx="6295698" cy="263149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non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𝑆𝑜𝑐𝑖𝑎𝑙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𝑚𝑒𝑑𝑖𝑎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𝑖𝑚𝑝𝑎𝑐𝑡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=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𝑓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𝑢𝑠𝑒𝑟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𝑣𝑖𝑒𝑤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𝑐𝑜𝑚𝑚𝑒𝑛𝑡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𝑐𝑜𝑛𝑡𝑒𝑛𝑡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)</m:t>
                      </m:r>
                    </m:oMath>
                  </m:oMathPara>
                </a14:m>
                <a:endParaRPr lang="pt-BR" sz="1900" b="0" noProof="0" dirty="0">
                  <a:latin typeface="+mn-lt"/>
                  <a:cs typeface="Arial Narrow" pitchFamily="34" charset="0"/>
                </a:endParaRPr>
              </a:p>
            </p:txBody>
          </p:sp>
        </mc:Choice>
        <mc:Fallback xmlns=""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50F86D9E-ADE5-CE41-B392-E815D07AC7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5634" y="6140315"/>
                <a:ext cx="6295698" cy="263149"/>
              </a:xfrm>
              <a:prstGeom prst="rect">
                <a:avLst/>
              </a:prstGeom>
              <a:blipFill>
                <a:blip r:embed="rId9"/>
                <a:stretch>
                  <a:fillRect l="-403" t="-13636" r="-806" b="-40909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EE65AB0B-EEFE-9E40-B04E-E1792A6A6B31}"/>
                  </a:ext>
                </a:extLst>
              </p:cNvPr>
              <p:cNvSpPr txBox="1"/>
              <p:nvPr/>
            </p:nvSpPr>
            <p:spPr>
              <a:xfrm>
                <a:off x="2272299" y="2368686"/>
                <a:ext cx="5602368" cy="318549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non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300" b="1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𝑷𝒓𝒊𝒄</m:t>
                      </m:r>
                      <m:r>
                        <a:rPr lang="en-US" sz="2300" b="1" i="1">
                          <a:latin typeface="Cambria Math" panose="02040503050406030204" pitchFamily="18" charset="0"/>
                          <a:cs typeface="Arial Narrow" pitchFamily="34" charset="0"/>
                        </a:rPr>
                        <m:t>𝒆</m:t>
                      </m:r>
                      <m:r>
                        <a:rPr lang="en-US" sz="2300" b="1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2300" b="1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𝒄𝒐𝒊𝒏</m:t>
                      </m:r>
                      <m:r>
                        <a:rPr lang="en-US" sz="2300" b="1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)=</m:t>
                      </m:r>
                      <m:r>
                        <a:rPr lang="en-US" sz="2300" b="1" i="1">
                          <a:latin typeface="Cambria Math" panose="02040503050406030204" pitchFamily="18" charset="0"/>
                          <a:cs typeface="Arial Narrow" pitchFamily="34" charset="0"/>
                        </a:rPr>
                        <m:t>𝒇</m:t>
                      </m:r>
                      <m:r>
                        <a:rPr lang="en-US" sz="2300" b="1" i="1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2300" b="1" i="1">
                          <a:latin typeface="Cambria Math" panose="02040503050406030204" pitchFamily="18" charset="0"/>
                          <a:cs typeface="Arial Narrow" pitchFamily="34" charset="0"/>
                        </a:rPr>
                        <m:t>𝑵𝒆𝒕𝒘𝒐𝒓𝒌</m:t>
                      </m:r>
                      <m:r>
                        <a:rPr lang="en-US" sz="2300" b="1" i="1">
                          <a:latin typeface="Cambria Math" panose="02040503050406030204" pitchFamily="18" charset="0"/>
                          <a:cs typeface="Arial Narrow" pitchFamily="34" charset="0"/>
                        </a:rPr>
                        <m:t>, </m:t>
                      </m:r>
                      <m:r>
                        <a:rPr lang="en-US" sz="2300" b="1" i="1">
                          <a:latin typeface="Cambria Math" panose="02040503050406030204" pitchFamily="18" charset="0"/>
                          <a:cs typeface="Arial Narrow" pitchFamily="34" charset="0"/>
                        </a:rPr>
                        <m:t>𝑺𝒑𝒆𝒄𝒖𝒍𝒂𝒕𝒊𝒐𝒏</m:t>
                      </m:r>
                      <m:r>
                        <a:rPr lang="en-US" sz="2300" b="1" i="1">
                          <a:latin typeface="Cambria Math" panose="02040503050406030204" pitchFamily="18" charset="0"/>
                          <a:cs typeface="Arial Narrow" pitchFamily="34" charset="0"/>
                        </a:rPr>
                        <m:t>)</m:t>
                      </m:r>
                    </m:oMath>
                  </m:oMathPara>
                </a14:m>
                <a:endParaRPr lang="pt-BR" sz="2300" noProof="0" dirty="0">
                  <a:latin typeface="+mn-lt"/>
                  <a:cs typeface="Arial Narrow" pitchFamily="34" charset="0"/>
                </a:endParaRPr>
              </a:p>
            </p:txBody>
          </p:sp>
        </mc:Choice>
        <mc:Fallback xmlns=""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EE65AB0B-EEFE-9E40-B04E-E1792A6A6B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72299" y="2368686"/>
                <a:ext cx="5602368" cy="318549"/>
              </a:xfrm>
              <a:prstGeom prst="rect">
                <a:avLst/>
              </a:prstGeom>
              <a:blipFill>
                <a:blip r:embed="rId10"/>
                <a:stretch>
                  <a:fillRect l="-679" t="-7692" r="-1131" b="-38462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CaixaDeTexto 14">
                <a:extLst>
                  <a:ext uri="{FF2B5EF4-FFF2-40B4-BE49-F238E27FC236}">
                    <a16:creationId xmlns:a16="http://schemas.microsoft.com/office/drawing/2014/main" id="{F03A289B-BCED-2A40-976F-17DE5F6116C8}"/>
                  </a:ext>
                </a:extLst>
              </p:cNvPr>
              <p:cNvSpPr txBox="1"/>
              <p:nvPr/>
            </p:nvSpPr>
            <p:spPr>
              <a:xfrm>
                <a:off x="738000" y="3493263"/>
                <a:ext cx="8567730" cy="263149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non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𝑆𝑝𝑒𝑐𝑢𝑙𝑎𝑡𝑖𝑜𝑛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𝑐𝑜𝑖𝑛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)=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𝑓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𝑝</m:t>
                      </m:r>
                      <m:d>
                        <m:dPr>
                          <m:ctrlPr>
                            <a:rPr lang="en-US" sz="1900" b="0" i="1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</m:ctrlPr>
                        </m:d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𝑎𝑑𝑜𝑝𝑡𝑖𝑜𝑛</m:t>
                          </m:r>
                        </m:e>
                      </m:d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𝑝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𝑟𝑒𝑠𝑡𝑟𝑖𝑐𝑡𝑖𝑜𝑛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),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𝑖𝑛𝑓𝑙𝑢𝑒𝑛𝑐𝑒𝑟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𝑜𝑡h𝑒𝑟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𝑐𝑜𝑖𝑛𝑠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)</m:t>
                      </m:r>
                    </m:oMath>
                  </m:oMathPara>
                </a14:m>
                <a:endParaRPr lang="pt-BR" sz="1900" b="0" noProof="0" dirty="0">
                  <a:latin typeface="+mn-lt"/>
                  <a:cs typeface="Arial Narrow" pitchFamily="34" charset="0"/>
                </a:endParaRPr>
              </a:p>
            </p:txBody>
          </p:sp>
        </mc:Choice>
        <mc:Fallback xmlns="">
          <p:sp>
            <p:nvSpPr>
              <p:cNvPr id="15" name="CaixaDeTexto 14">
                <a:extLst>
                  <a:ext uri="{FF2B5EF4-FFF2-40B4-BE49-F238E27FC236}">
                    <a16:creationId xmlns:a16="http://schemas.microsoft.com/office/drawing/2014/main" id="{F03A289B-BCED-2A40-976F-17DE5F6116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8000" y="3493263"/>
                <a:ext cx="8567730" cy="263149"/>
              </a:xfrm>
              <a:prstGeom prst="rect">
                <a:avLst/>
              </a:prstGeom>
              <a:blipFill>
                <a:blip r:embed="rId11"/>
                <a:stretch>
                  <a:fillRect t="-13636" b="-36364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D38E8F27-1E62-D144-A6D2-570AE7F28651}"/>
                  </a:ext>
                </a:extLst>
              </p:cNvPr>
              <p:cNvSpPr txBox="1"/>
              <p:nvPr/>
            </p:nvSpPr>
            <p:spPr>
              <a:xfrm>
                <a:off x="2070321" y="2957567"/>
                <a:ext cx="6006324" cy="263149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non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𝑁𝑒𝑡𝑤𝑜𝑟𝑘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𝑐𝑜𝑖𝑛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)=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𝑓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(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𝑎𝑑𝑜𝑝𝑡𝑖𝑜𝑛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𝑟𝑒𝑠𝑡𝑟𝑖𝑐𝑡𝑖𝑜𝑛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, 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𝑟𝑒𝑔𝑢𝑙𝑎𝑡𝑖𝑜𝑛</m:t>
                      </m:r>
                      <m:r>
                        <a:rPr lang="en-US" sz="1900" b="0" i="1">
                          <a:latin typeface="Cambria Math" panose="02040503050406030204" pitchFamily="18" charset="0"/>
                          <a:cs typeface="Arial Narrow" pitchFamily="34" charset="0"/>
                        </a:rPr>
                        <m:t>)</m:t>
                      </m:r>
                    </m:oMath>
                  </m:oMathPara>
                </a14:m>
                <a:endParaRPr lang="pt-BR" sz="1900" b="0" noProof="0" dirty="0">
                  <a:latin typeface="+mn-lt"/>
                  <a:cs typeface="Arial Narrow" pitchFamily="34" charset="0"/>
                </a:endParaRPr>
              </a:p>
            </p:txBody>
          </p:sp>
        </mc:Choice>
        <mc:Fallback xmlns=""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D38E8F27-1E62-D144-A6D2-570AE7F286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70321" y="2957567"/>
                <a:ext cx="6006324" cy="263149"/>
              </a:xfrm>
              <a:prstGeom prst="rect">
                <a:avLst/>
              </a:prstGeom>
              <a:blipFill>
                <a:blip r:embed="rId12"/>
                <a:stretch>
                  <a:fillRect l="-422" t="-4545" r="-844" b="-31818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9AAAF01F-E099-6144-A8E4-70B0C03574A3}"/>
              </a:ext>
            </a:extLst>
          </p:cNvPr>
          <p:cNvCxnSpPr/>
          <p:nvPr/>
        </p:nvCxnSpPr>
        <p:spPr>
          <a:xfrm>
            <a:off x="905104" y="4076700"/>
            <a:ext cx="8368885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rma em L 5">
            <a:extLst>
              <a:ext uri="{FF2B5EF4-FFF2-40B4-BE49-F238E27FC236}">
                <a16:creationId xmlns:a16="http://schemas.microsoft.com/office/drawing/2014/main" id="{5375C1CF-C456-5C4D-9245-94DBF843440E}"/>
              </a:ext>
            </a:extLst>
          </p:cNvPr>
          <p:cNvSpPr/>
          <p:nvPr/>
        </p:nvSpPr>
        <p:spPr>
          <a:xfrm rot="18767777">
            <a:off x="4915994" y="3964778"/>
            <a:ext cx="180000" cy="180000"/>
          </a:xfrm>
          <a:prstGeom prst="corner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</p:txBody>
      </p:sp>
    </p:spTree>
    <p:extLst>
      <p:ext uri="{BB962C8B-B14F-4D97-AF65-F5344CB8AC3E}">
        <p14:creationId xmlns:p14="http://schemas.microsoft.com/office/powerpoint/2010/main" val="29910850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7" y="720012"/>
            <a:ext cx="9059135" cy="747897"/>
          </a:xfrm>
        </p:spPr>
        <p:txBody>
          <a:bodyPr/>
          <a:lstStyle/>
          <a:p>
            <a:r>
              <a:rPr lang="pt-BR" dirty="0" err="1"/>
              <a:t>Information</a:t>
            </a:r>
            <a:r>
              <a:rPr lang="pt-BR" dirty="0"/>
              <a:t> </a:t>
            </a:r>
            <a:r>
              <a:rPr lang="pt-BR" dirty="0" err="1"/>
              <a:t>on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daily</a:t>
            </a:r>
            <a:r>
              <a:rPr lang="pt-BR" dirty="0"/>
              <a:t> </a:t>
            </a:r>
            <a:r>
              <a:rPr lang="pt-BR" dirty="0" err="1"/>
              <a:t>variation</a:t>
            </a:r>
            <a:r>
              <a:rPr lang="pt-BR" dirty="0"/>
              <a:t> </a:t>
            </a:r>
            <a:r>
              <a:rPr lang="pt-BR" dirty="0" err="1"/>
              <a:t>of</a:t>
            </a:r>
            <a:r>
              <a:rPr lang="pt-BR" dirty="0"/>
              <a:t> </a:t>
            </a:r>
            <a:r>
              <a:rPr lang="pt-BR" dirty="0" err="1"/>
              <a:t>crypto</a:t>
            </a:r>
            <a:r>
              <a:rPr lang="pt-BR" dirty="0"/>
              <a:t> </a:t>
            </a:r>
            <a:r>
              <a:rPr lang="pt-BR" dirty="0" err="1"/>
              <a:t>prices</a:t>
            </a:r>
            <a:r>
              <a:rPr lang="pt-BR" dirty="0"/>
              <a:t> </a:t>
            </a:r>
            <a:r>
              <a:rPr lang="pt-BR" dirty="0" err="1"/>
              <a:t>was</a:t>
            </a:r>
            <a:r>
              <a:rPr lang="pt-BR" dirty="0"/>
              <a:t> </a:t>
            </a:r>
            <a:r>
              <a:rPr lang="pt-BR" dirty="0" err="1"/>
              <a:t>collected</a:t>
            </a:r>
            <a:r>
              <a:rPr lang="pt-BR" dirty="0"/>
              <a:t>, </a:t>
            </a:r>
            <a:r>
              <a:rPr lang="pt-BR" dirty="0" err="1"/>
              <a:t>along</a:t>
            </a:r>
            <a:r>
              <a:rPr lang="pt-BR" dirty="0"/>
              <a:t> </a:t>
            </a:r>
            <a:r>
              <a:rPr lang="pt-BR" dirty="0" err="1"/>
              <a:t>with</a:t>
            </a:r>
            <a:r>
              <a:rPr lang="pt-BR" dirty="0"/>
              <a:t> </a:t>
            </a:r>
            <a:r>
              <a:rPr lang="pt-BR" dirty="0" err="1"/>
              <a:t>news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</a:t>
            </a:r>
            <a:r>
              <a:rPr lang="pt-BR" dirty="0" err="1"/>
              <a:t>Cointelegraph</a:t>
            </a:r>
            <a:r>
              <a:rPr lang="pt-BR" dirty="0"/>
              <a:t>, posts </a:t>
            </a:r>
            <a:r>
              <a:rPr lang="pt-BR" dirty="0" err="1"/>
              <a:t>from</a:t>
            </a:r>
            <a:r>
              <a:rPr lang="pt-BR" dirty="0"/>
              <a:t> </a:t>
            </a:r>
            <a:r>
              <a:rPr lang="pt-BR" dirty="0" err="1"/>
              <a:t>Reddit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Dow Jones </a:t>
            </a:r>
            <a:r>
              <a:rPr lang="pt-BR" dirty="0" err="1"/>
              <a:t>values</a:t>
            </a:r>
            <a:endParaRPr lang="pt-BR" dirty="0"/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Websites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scraped</a:t>
            </a:r>
            <a:endParaRPr lang="pt-BR" sz="2100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50" name="Source">
            <a:extLst>
              <a:ext uri="{FF2B5EF4-FFF2-40B4-BE49-F238E27FC236}">
                <a16:creationId xmlns:a16="http://schemas.microsoft.com/office/drawing/2014/main" id="{4C518A76-6A13-8F41-84C8-1C0EE74C3D30}"/>
              </a:ext>
            </a:extLst>
          </p:cNvPr>
          <p:cNvSpPr txBox="1"/>
          <p:nvPr/>
        </p:nvSpPr>
        <p:spPr>
          <a:xfrm>
            <a:off x="738200" y="6710122"/>
            <a:ext cx="2882199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pt-BR" sz="900" b="0" dirty="0" err="1">
                <a:latin typeface="+mn-lt"/>
                <a:sym typeface="+mn-lt"/>
              </a:rPr>
              <a:t>Sources</a:t>
            </a:r>
            <a:r>
              <a:rPr lang="pt-BR" sz="900" b="0" dirty="0">
                <a:latin typeface="+mn-lt"/>
                <a:sym typeface="+mn-lt"/>
              </a:rPr>
              <a:t>: </a:t>
            </a:r>
            <a:r>
              <a:rPr lang="pt-BR" sz="900" b="0" dirty="0" err="1">
                <a:latin typeface="+mn-lt"/>
                <a:sym typeface="+mn-lt"/>
              </a:rPr>
              <a:t>CoinMarketCap</a:t>
            </a:r>
            <a:r>
              <a:rPr lang="pt-BR" sz="900" b="0" dirty="0">
                <a:latin typeface="+mn-lt"/>
                <a:sym typeface="+mn-lt"/>
              </a:rPr>
              <a:t>, Yahoo </a:t>
            </a:r>
            <a:r>
              <a:rPr lang="pt-BR" sz="900" b="0" dirty="0" err="1">
                <a:latin typeface="+mn-lt"/>
                <a:sym typeface="+mn-lt"/>
              </a:rPr>
              <a:t>Finance</a:t>
            </a:r>
            <a:r>
              <a:rPr lang="pt-BR" sz="900" b="0" dirty="0">
                <a:latin typeface="+mn-lt"/>
                <a:sym typeface="+mn-lt"/>
              </a:rPr>
              <a:t>, </a:t>
            </a:r>
            <a:r>
              <a:rPr lang="pt-BR" sz="900" b="0" dirty="0" err="1">
                <a:latin typeface="+mn-lt"/>
                <a:sym typeface="+mn-lt"/>
              </a:rPr>
              <a:t>Cointelegraph</a:t>
            </a:r>
            <a:r>
              <a:rPr lang="pt-BR" sz="900" b="0" dirty="0">
                <a:latin typeface="+mn-lt"/>
                <a:sym typeface="+mn-lt"/>
              </a:rPr>
              <a:t> </a:t>
            </a:r>
            <a:r>
              <a:rPr lang="pt-BR" sz="900" b="0" dirty="0" err="1">
                <a:latin typeface="+mn-lt"/>
                <a:sym typeface="+mn-lt"/>
              </a:rPr>
              <a:t>and</a:t>
            </a:r>
            <a:r>
              <a:rPr lang="pt-BR" sz="900" b="0" dirty="0">
                <a:latin typeface="+mn-lt"/>
                <a:sym typeface="+mn-lt"/>
              </a:rPr>
              <a:t> </a:t>
            </a:r>
            <a:r>
              <a:rPr lang="pt-BR" sz="900" b="0" dirty="0" err="1">
                <a:latin typeface="+mn-lt"/>
                <a:sym typeface="+mn-lt"/>
              </a:rPr>
              <a:t>Reddit</a:t>
            </a:r>
            <a:endParaRPr lang="pt-BR" sz="900" b="0" dirty="0">
              <a:latin typeface="+mn-lt"/>
              <a:sym typeface="+mn-lt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44CA607F-80AE-8F47-B9BD-654F724AA937}"/>
              </a:ext>
            </a:extLst>
          </p:cNvPr>
          <p:cNvSpPr/>
          <p:nvPr/>
        </p:nvSpPr>
        <p:spPr>
          <a:xfrm>
            <a:off x="737999" y="2248060"/>
            <a:ext cx="8535990" cy="355201"/>
          </a:xfrm>
          <a:prstGeom prst="rect">
            <a:avLst/>
          </a:prstGeom>
          <a:solidFill>
            <a:schemeClr val="accent4">
              <a:lumMod val="2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1800" dirty="0" err="1">
                <a:solidFill>
                  <a:schemeClr val="bg1"/>
                </a:solidFill>
                <a:sym typeface="+mn-lt"/>
              </a:rPr>
              <a:t>Step</a:t>
            </a:r>
            <a:r>
              <a:rPr lang="pt-BR" sz="1800" dirty="0">
                <a:solidFill>
                  <a:schemeClr val="bg1"/>
                </a:solidFill>
                <a:sym typeface="+mn-lt"/>
              </a:rPr>
              <a:t> 1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–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retrieving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information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from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4 websites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FBF32B70-526C-8B48-B687-5F69E95629A4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EB56FF94-0149-404C-8BB0-010B030FEB47}"/>
              </a:ext>
            </a:extLst>
          </p:cNvPr>
          <p:cNvSpPr txBox="1">
            <a:spLocks/>
          </p:cNvSpPr>
          <p:nvPr/>
        </p:nvSpPr>
        <p:spPr>
          <a:xfrm>
            <a:off x="646428" y="296880"/>
            <a:ext cx="4346269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Methodology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1534F241-8976-0543-8362-409AC5648CEF}"/>
              </a:ext>
            </a:extLst>
          </p:cNvPr>
          <p:cNvSpPr/>
          <p:nvPr/>
        </p:nvSpPr>
        <p:spPr>
          <a:xfrm>
            <a:off x="2896154" y="2848843"/>
            <a:ext cx="2072793" cy="31719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Yahoo </a:t>
            </a:r>
            <a:r>
              <a:rPr lang="pt-BR" sz="1500" dirty="0" err="1">
                <a:solidFill>
                  <a:schemeClr val="accent3">
                    <a:lumMod val="90000"/>
                    <a:lumOff val="10000"/>
                  </a:schemeClr>
                </a:solidFill>
              </a:rPr>
              <a:t>Finance</a:t>
            </a:r>
            <a:endParaRPr lang="pt-BR" sz="1500" dirty="0">
              <a:solidFill>
                <a:schemeClr val="accent3">
                  <a:lumMod val="90000"/>
                  <a:lumOff val="10000"/>
                </a:schemeClr>
              </a:solidFill>
            </a:endParaRPr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dirty="0" err="1"/>
              <a:t>Package</a:t>
            </a:r>
            <a:r>
              <a:rPr lang="pt-BR" b="0" dirty="0"/>
              <a:t>: </a:t>
            </a:r>
            <a:r>
              <a:rPr lang="pt-BR" sz="1100" b="0" dirty="0" err="1"/>
              <a:t>Selenium</a:t>
            </a:r>
            <a:endParaRPr lang="pt-BR" sz="11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dirty="0" err="1"/>
              <a:t>Method</a:t>
            </a:r>
            <a:r>
              <a:rPr lang="pt-BR" b="0" dirty="0"/>
              <a:t>: </a:t>
            </a:r>
            <a:r>
              <a:rPr lang="pt-BR" sz="1100" b="0" dirty="0" err="1"/>
              <a:t>One</a:t>
            </a:r>
            <a:r>
              <a:rPr lang="pt-BR" sz="1100" b="0" dirty="0"/>
              <a:t> </a:t>
            </a:r>
            <a:r>
              <a:rPr lang="pt-BR" sz="1100" b="0" dirty="0" err="1"/>
              <a:t>page</a:t>
            </a:r>
            <a:r>
              <a:rPr lang="pt-BR" sz="1100" b="0" dirty="0"/>
              <a:t> </a:t>
            </a:r>
            <a:r>
              <a:rPr lang="pt-BR" sz="1100" b="0" dirty="0" err="1"/>
              <a:t>already</a:t>
            </a:r>
            <a:r>
              <a:rPr lang="pt-BR" sz="1100" b="0" dirty="0"/>
              <a:t> </a:t>
            </a:r>
            <a:r>
              <a:rPr lang="pt-BR" sz="1100" b="0" dirty="0" err="1"/>
              <a:t>had</a:t>
            </a:r>
            <a:r>
              <a:rPr lang="pt-BR" sz="1100" b="0" dirty="0"/>
              <a:t> </a:t>
            </a:r>
            <a:r>
              <a:rPr lang="pt-BR" sz="1100" b="0" dirty="0" err="1"/>
              <a:t>all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historical</a:t>
            </a:r>
            <a:r>
              <a:rPr lang="pt-BR" sz="1100" b="0" dirty="0"/>
              <a:t> </a:t>
            </a:r>
            <a:r>
              <a:rPr lang="pt-BR" sz="1100" b="0" dirty="0" err="1"/>
              <a:t>information</a:t>
            </a:r>
            <a:r>
              <a:rPr lang="pt-BR" sz="1100" b="0" dirty="0"/>
              <a:t> </a:t>
            </a:r>
            <a:r>
              <a:rPr lang="pt-BR" sz="1100" b="0" dirty="0" err="1"/>
              <a:t>on</a:t>
            </a:r>
            <a:r>
              <a:rPr lang="pt-BR" sz="1100" b="0" dirty="0"/>
              <a:t> Dow Jones, </a:t>
            </a:r>
            <a:r>
              <a:rPr lang="pt-BR" sz="1100" b="0" dirty="0" err="1"/>
              <a:t>but</a:t>
            </a:r>
            <a:r>
              <a:rPr lang="pt-BR" sz="1100" b="0" dirty="0"/>
              <a:t> </a:t>
            </a:r>
            <a:r>
              <a:rPr lang="pt-BR" sz="1100" b="0" dirty="0" err="1"/>
              <a:t>Selenium</a:t>
            </a:r>
            <a:r>
              <a:rPr lang="pt-BR" sz="1100" b="0" dirty="0"/>
              <a:t> </a:t>
            </a:r>
            <a:r>
              <a:rPr lang="pt-BR" sz="1100" b="0" dirty="0" err="1"/>
              <a:t>was</a:t>
            </a:r>
            <a:r>
              <a:rPr lang="pt-BR" sz="1100" b="0" dirty="0"/>
              <a:t> </a:t>
            </a:r>
            <a:r>
              <a:rPr lang="pt-BR" sz="1100" b="0" dirty="0" err="1"/>
              <a:t>needed</a:t>
            </a:r>
            <a:r>
              <a:rPr lang="pt-BR" sz="1100" b="0" dirty="0"/>
              <a:t> in </a:t>
            </a:r>
            <a:r>
              <a:rPr lang="pt-BR" sz="1100" b="0" dirty="0" err="1"/>
              <a:t>order</a:t>
            </a:r>
            <a:r>
              <a:rPr lang="pt-BR" sz="1100" b="0" dirty="0"/>
              <a:t> </a:t>
            </a:r>
            <a:r>
              <a:rPr lang="pt-BR" sz="1100" b="0" dirty="0" err="1"/>
              <a:t>to</a:t>
            </a:r>
            <a:r>
              <a:rPr lang="pt-BR" sz="1100" b="0" dirty="0"/>
              <a:t> scroll </a:t>
            </a:r>
            <a:r>
              <a:rPr lang="pt-BR" sz="1100" b="0" dirty="0" err="1"/>
              <a:t>down</a:t>
            </a:r>
            <a:r>
              <a:rPr lang="pt-BR" sz="1100" b="0" dirty="0"/>
              <a:t> </a:t>
            </a:r>
            <a:r>
              <a:rPr lang="pt-BR" sz="1100" b="0" dirty="0" err="1"/>
              <a:t>to</a:t>
            </a:r>
            <a:r>
              <a:rPr lang="pt-BR" sz="1100" b="0" dirty="0"/>
              <a:t> charge </a:t>
            </a:r>
            <a:r>
              <a:rPr lang="pt-BR" sz="1100" b="0" dirty="0" err="1"/>
              <a:t>all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information</a:t>
            </a:r>
            <a:endParaRPr lang="pt-BR" sz="1100" b="0" dirty="0"/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A2C53769-C015-EE4E-8883-43AD740883F5}"/>
              </a:ext>
            </a:extLst>
          </p:cNvPr>
          <p:cNvSpPr/>
          <p:nvPr/>
        </p:nvSpPr>
        <p:spPr>
          <a:xfrm>
            <a:off x="737999" y="2848843"/>
            <a:ext cx="2072793" cy="31719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dirty="0" err="1">
                <a:solidFill>
                  <a:schemeClr val="accent3">
                    <a:lumMod val="90000"/>
                    <a:lumOff val="10000"/>
                  </a:schemeClr>
                </a:solidFill>
              </a:rPr>
              <a:t>CoinMarketCap</a:t>
            </a:r>
            <a:endParaRPr lang="pt-BR" sz="1500" dirty="0">
              <a:solidFill>
                <a:schemeClr val="accent3">
                  <a:lumMod val="90000"/>
                  <a:lumOff val="10000"/>
                </a:schemeClr>
              </a:solidFill>
            </a:endParaRPr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dirty="0" err="1"/>
              <a:t>Package</a:t>
            </a:r>
            <a:r>
              <a:rPr lang="pt-BR" b="0" dirty="0"/>
              <a:t>: </a:t>
            </a:r>
            <a:r>
              <a:rPr lang="pt-BR" sz="1100" b="0" dirty="0" err="1"/>
              <a:t>Scrapy</a:t>
            </a:r>
            <a:endParaRPr lang="pt-BR" sz="11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dirty="0" err="1"/>
              <a:t>Method</a:t>
            </a:r>
            <a:r>
              <a:rPr lang="pt-BR" b="0" dirty="0"/>
              <a:t>: </a:t>
            </a:r>
            <a:r>
              <a:rPr lang="pt-BR" sz="1100" b="0" dirty="0" err="1"/>
              <a:t>Main</a:t>
            </a:r>
            <a:r>
              <a:rPr lang="pt-BR" sz="1100" b="0" dirty="0"/>
              <a:t> </a:t>
            </a:r>
            <a:r>
              <a:rPr lang="pt-BR" sz="1100" b="0" dirty="0" err="1"/>
              <a:t>page</a:t>
            </a:r>
            <a:r>
              <a:rPr lang="pt-BR" sz="1100" b="0" dirty="0"/>
              <a:t> </a:t>
            </a:r>
            <a:r>
              <a:rPr lang="pt-BR" sz="1100" b="0" dirty="0" err="1"/>
              <a:t>with</a:t>
            </a:r>
            <a:r>
              <a:rPr lang="pt-BR" sz="1100" b="0" dirty="0"/>
              <a:t> </a:t>
            </a:r>
            <a:r>
              <a:rPr lang="pt-BR" sz="1100" b="0" dirty="0" err="1"/>
              <a:t>information</a:t>
            </a:r>
            <a:r>
              <a:rPr lang="pt-BR" sz="1100" b="0" dirty="0"/>
              <a:t> </a:t>
            </a:r>
            <a:r>
              <a:rPr lang="pt-BR" sz="1100" b="0" dirty="0" err="1"/>
              <a:t>on</a:t>
            </a:r>
            <a:r>
              <a:rPr lang="pt-BR" sz="1100" b="0" dirty="0"/>
              <a:t> </a:t>
            </a:r>
            <a:r>
              <a:rPr lang="pt-BR" sz="1100" b="0" dirty="0" err="1"/>
              <a:t>all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cryptocurrencies</a:t>
            </a:r>
            <a:r>
              <a:rPr lang="pt-BR" sz="1100" b="0" dirty="0"/>
              <a:t> trading </a:t>
            </a:r>
            <a:r>
              <a:rPr lang="pt-BR" sz="1100" b="0" dirty="0" err="1"/>
              <a:t>provided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url</a:t>
            </a:r>
            <a:r>
              <a:rPr lang="pt-BR" sz="1100" b="0" dirty="0"/>
              <a:t> for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historical</a:t>
            </a:r>
            <a:r>
              <a:rPr lang="pt-BR" sz="1100" b="0" dirty="0"/>
              <a:t> data </a:t>
            </a:r>
            <a:r>
              <a:rPr lang="pt-BR" sz="1100" b="0" dirty="0" err="1"/>
              <a:t>on</a:t>
            </a:r>
            <a:r>
              <a:rPr lang="pt-BR" sz="1100" b="0" dirty="0"/>
              <a:t> </a:t>
            </a:r>
            <a:r>
              <a:rPr lang="pt-BR" sz="1100" b="0" dirty="0" err="1"/>
              <a:t>each</a:t>
            </a:r>
            <a:r>
              <a:rPr lang="pt-BR" sz="1100" b="0" dirty="0"/>
              <a:t> </a:t>
            </a:r>
            <a:r>
              <a:rPr lang="pt-BR" sz="1100" b="0" dirty="0" err="1"/>
              <a:t>cryptocurrency</a:t>
            </a:r>
            <a:endParaRPr lang="pt-BR" sz="1100" b="0" dirty="0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214E15BF-DC0D-2648-B6DD-92C7C68D97E1}"/>
              </a:ext>
            </a:extLst>
          </p:cNvPr>
          <p:cNvSpPr/>
          <p:nvPr/>
        </p:nvSpPr>
        <p:spPr>
          <a:xfrm>
            <a:off x="5043447" y="2848843"/>
            <a:ext cx="2072793" cy="31719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dirty="0" err="1">
                <a:solidFill>
                  <a:schemeClr val="accent3">
                    <a:lumMod val="90000"/>
                    <a:lumOff val="10000"/>
                  </a:schemeClr>
                </a:solidFill>
              </a:rPr>
              <a:t>Cointelegraph</a:t>
            </a:r>
            <a:endParaRPr lang="pt-BR" sz="1500" dirty="0">
              <a:solidFill>
                <a:schemeClr val="accent3">
                  <a:lumMod val="90000"/>
                  <a:lumOff val="10000"/>
                </a:schemeClr>
              </a:solidFill>
            </a:endParaRPr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dirty="0" err="1"/>
              <a:t>Package</a:t>
            </a:r>
            <a:r>
              <a:rPr lang="pt-BR" b="0" dirty="0"/>
              <a:t>: </a:t>
            </a:r>
            <a:r>
              <a:rPr lang="pt-BR" sz="1100" b="0" dirty="0" err="1"/>
              <a:t>Selenium</a:t>
            </a:r>
            <a:endParaRPr lang="pt-BR" sz="11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dirty="0" err="1"/>
              <a:t>Method</a:t>
            </a:r>
            <a:r>
              <a:rPr lang="pt-BR" b="0" dirty="0"/>
              <a:t>: </a:t>
            </a:r>
            <a:r>
              <a:rPr lang="pt-BR" sz="1100" b="0" dirty="0"/>
              <a:t>Loop </a:t>
            </a:r>
            <a:r>
              <a:rPr lang="pt-BR" sz="1100" b="0" dirty="0" err="1"/>
              <a:t>through</a:t>
            </a:r>
            <a:r>
              <a:rPr lang="pt-BR" sz="1100" b="0" dirty="0"/>
              <a:t> a </a:t>
            </a:r>
            <a:r>
              <a:rPr lang="pt-BR" sz="1100" b="0" dirty="0" err="1"/>
              <a:t>list</a:t>
            </a:r>
            <a:r>
              <a:rPr lang="pt-BR" sz="1100" b="0" dirty="0"/>
              <a:t>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tags</a:t>
            </a:r>
            <a:r>
              <a:rPr lang="pt-BR" sz="1100" b="0" dirty="0"/>
              <a:t>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different</a:t>
            </a:r>
            <a:r>
              <a:rPr lang="pt-BR" sz="1100" b="0" dirty="0"/>
              <a:t> </a:t>
            </a:r>
            <a:r>
              <a:rPr lang="pt-BR" sz="1100" b="0" dirty="0" err="1"/>
              <a:t>types</a:t>
            </a:r>
            <a:r>
              <a:rPr lang="pt-BR" sz="1100" b="0" dirty="0"/>
              <a:t>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news</a:t>
            </a:r>
            <a:r>
              <a:rPr lang="pt-BR" sz="1100" b="0" dirty="0"/>
              <a:t> (</a:t>
            </a:r>
            <a:r>
              <a:rPr lang="pt-BR" sz="1100" b="0" dirty="0" err="1"/>
              <a:t>bitcoin</a:t>
            </a:r>
            <a:r>
              <a:rPr lang="pt-BR" sz="1100" b="0" dirty="0"/>
              <a:t>, </a:t>
            </a:r>
            <a:r>
              <a:rPr lang="pt-BR" sz="1100" b="0" dirty="0" err="1"/>
              <a:t>ethereum</a:t>
            </a:r>
            <a:r>
              <a:rPr lang="pt-BR" sz="1100" b="0" dirty="0"/>
              <a:t>, </a:t>
            </a:r>
            <a:r>
              <a:rPr lang="pt-BR" sz="1100" b="0" dirty="0" err="1"/>
              <a:t>ripple</a:t>
            </a:r>
            <a:r>
              <a:rPr lang="pt-BR" sz="1100" b="0" dirty="0"/>
              <a:t>, </a:t>
            </a:r>
            <a:r>
              <a:rPr lang="pt-BR" sz="1100" b="0" dirty="0" err="1"/>
              <a:t>altcoin</a:t>
            </a:r>
            <a:r>
              <a:rPr lang="pt-BR" sz="1100" b="0" dirty="0"/>
              <a:t>, </a:t>
            </a:r>
            <a:r>
              <a:rPr lang="pt-BR" sz="1100" b="0" dirty="0" err="1"/>
              <a:t>regulation</a:t>
            </a:r>
            <a:r>
              <a:rPr lang="pt-BR" sz="1100" b="0" dirty="0"/>
              <a:t>, ...). A “</a:t>
            </a:r>
            <a:r>
              <a:rPr lang="pt-BR" sz="1100" b="0" dirty="0" err="1"/>
              <a:t>Load</a:t>
            </a:r>
            <a:r>
              <a:rPr lang="pt-BR" sz="1100" b="0" dirty="0"/>
              <a:t> more” </a:t>
            </a:r>
            <a:r>
              <a:rPr lang="pt-BR" sz="1100" b="0" dirty="0" err="1"/>
              <a:t>button</a:t>
            </a:r>
            <a:r>
              <a:rPr lang="pt-BR" sz="1100" b="0" dirty="0"/>
              <a:t> </a:t>
            </a:r>
            <a:r>
              <a:rPr lang="pt-BR" sz="1100" b="0" dirty="0" err="1"/>
              <a:t>required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use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Selenium</a:t>
            </a:r>
            <a:endParaRPr lang="pt-BR" sz="1100" b="0" dirty="0"/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7D604B46-97B4-234E-B501-E46797858CC7}"/>
              </a:ext>
            </a:extLst>
          </p:cNvPr>
          <p:cNvSpPr/>
          <p:nvPr/>
        </p:nvSpPr>
        <p:spPr>
          <a:xfrm>
            <a:off x="7187899" y="2848842"/>
            <a:ext cx="2072793" cy="317192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dirty="0" err="1">
                <a:solidFill>
                  <a:schemeClr val="accent3">
                    <a:lumMod val="90000"/>
                    <a:lumOff val="10000"/>
                  </a:schemeClr>
                </a:solidFill>
              </a:rPr>
              <a:t>Reddit</a:t>
            </a:r>
            <a:endParaRPr lang="pt-BR" sz="1500" dirty="0">
              <a:solidFill>
                <a:schemeClr val="accent3">
                  <a:lumMod val="90000"/>
                  <a:lumOff val="10000"/>
                </a:schemeClr>
              </a:solidFill>
            </a:endParaRPr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dirty="0" err="1"/>
              <a:t>Package</a:t>
            </a:r>
            <a:r>
              <a:rPr lang="pt-BR" b="0" dirty="0"/>
              <a:t>: </a:t>
            </a:r>
            <a:r>
              <a:rPr lang="pt-BR" sz="1100" b="0" dirty="0" err="1"/>
              <a:t>Scrapy</a:t>
            </a:r>
            <a:endParaRPr lang="pt-BR" sz="1100" b="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dirty="0" err="1"/>
              <a:t>Method</a:t>
            </a:r>
            <a:r>
              <a:rPr lang="pt-BR" b="0" dirty="0"/>
              <a:t>: </a:t>
            </a:r>
            <a:r>
              <a:rPr lang="pt-BR" sz="1100" b="0" dirty="0"/>
              <a:t>The </a:t>
            </a:r>
            <a:r>
              <a:rPr lang="pt-BR" sz="1100" b="0" dirty="0" err="1"/>
              <a:t>main</a:t>
            </a:r>
            <a:r>
              <a:rPr lang="pt-BR" sz="1100" b="0" dirty="0"/>
              <a:t> </a:t>
            </a:r>
            <a:r>
              <a:rPr lang="pt-BR" sz="1100" b="0" dirty="0" err="1"/>
              <a:t>page</a:t>
            </a:r>
            <a:r>
              <a:rPr lang="pt-BR" sz="1100" b="0" dirty="0"/>
              <a:t> </a:t>
            </a:r>
            <a:r>
              <a:rPr lang="pt-BR" sz="1100" b="0" dirty="0" err="1"/>
              <a:t>provided</a:t>
            </a:r>
            <a:r>
              <a:rPr lang="pt-BR" sz="1100" b="0" dirty="0"/>
              <a:t> a </a:t>
            </a:r>
            <a:r>
              <a:rPr lang="pt-BR" sz="1100" b="0" dirty="0" err="1"/>
              <a:t>list</a:t>
            </a:r>
            <a:r>
              <a:rPr lang="pt-BR" sz="1100" b="0" dirty="0"/>
              <a:t>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cryptocoins</a:t>
            </a:r>
            <a:r>
              <a:rPr lang="pt-BR" sz="1100" b="0" dirty="0"/>
              <a:t> </a:t>
            </a:r>
            <a:r>
              <a:rPr lang="pt-BR" sz="1100" b="0" dirty="0" err="1"/>
              <a:t>subreddits</a:t>
            </a:r>
            <a:r>
              <a:rPr lang="pt-BR" sz="1100" b="0" dirty="0"/>
              <a:t>. It </a:t>
            </a:r>
            <a:r>
              <a:rPr lang="pt-BR" sz="1100" b="0" dirty="0" err="1"/>
              <a:t>was</a:t>
            </a:r>
            <a:r>
              <a:rPr lang="pt-BR" sz="1100" b="0" dirty="0"/>
              <a:t> </a:t>
            </a:r>
            <a:r>
              <a:rPr lang="pt-BR" sz="1100" b="0" dirty="0" err="1"/>
              <a:t>used</a:t>
            </a:r>
            <a:r>
              <a:rPr lang="pt-BR" sz="1100" b="0" dirty="0"/>
              <a:t> </a:t>
            </a:r>
            <a:r>
              <a:rPr lang="pt-BR" sz="1100" b="0" dirty="0" err="1"/>
              <a:t>to</a:t>
            </a:r>
            <a:r>
              <a:rPr lang="pt-BR" sz="1100" b="0" dirty="0"/>
              <a:t> loop </a:t>
            </a:r>
            <a:r>
              <a:rPr lang="pt-BR" sz="1100" b="0" dirty="0" err="1"/>
              <a:t>into</a:t>
            </a:r>
            <a:r>
              <a:rPr lang="pt-BR" sz="1100" b="0" dirty="0"/>
              <a:t> </a:t>
            </a:r>
            <a:r>
              <a:rPr lang="pt-BR" sz="1100" b="0" dirty="0" err="1"/>
              <a:t>each</a:t>
            </a:r>
            <a:r>
              <a:rPr lang="pt-BR" sz="1100" b="0" dirty="0"/>
              <a:t> </a:t>
            </a:r>
            <a:r>
              <a:rPr lang="pt-BR" sz="1100" b="0" dirty="0" err="1"/>
              <a:t>one</a:t>
            </a:r>
            <a:r>
              <a:rPr lang="pt-BR" sz="1100" b="0" dirty="0"/>
              <a:t>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subreddits</a:t>
            </a:r>
            <a:r>
              <a:rPr lang="pt-BR" sz="1100" b="0" dirty="0"/>
              <a:t> “top” posts, </a:t>
            </a:r>
            <a:r>
              <a:rPr lang="pt-BR" sz="1100" b="0" dirty="0" err="1"/>
              <a:t>through</a:t>
            </a:r>
            <a:r>
              <a:rPr lang="pt-BR" sz="1100" b="0" dirty="0"/>
              <a:t> </a:t>
            </a:r>
            <a:r>
              <a:rPr lang="pt-BR" sz="1100" b="0" dirty="0" err="1"/>
              <a:t>all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history</a:t>
            </a:r>
            <a:r>
              <a:rPr lang="pt-BR" sz="1100" b="0" dirty="0"/>
              <a:t>. </a:t>
            </a:r>
            <a:r>
              <a:rPr lang="pt-BR" sz="1100" b="0" dirty="0" err="1"/>
              <a:t>Information</a:t>
            </a:r>
            <a:r>
              <a:rPr lang="pt-BR" sz="1100" b="0" dirty="0"/>
              <a:t> </a:t>
            </a:r>
            <a:r>
              <a:rPr lang="pt-BR" sz="1100" b="0" dirty="0" err="1"/>
              <a:t>on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users</a:t>
            </a:r>
            <a:r>
              <a:rPr lang="pt-BR" sz="1100" b="0" dirty="0"/>
              <a:t> </a:t>
            </a:r>
            <a:r>
              <a:rPr lang="pt-BR" sz="1100" b="0" dirty="0" err="1"/>
              <a:t>who</a:t>
            </a:r>
            <a:r>
              <a:rPr lang="pt-BR" sz="1100" b="0" dirty="0"/>
              <a:t> </a:t>
            </a:r>
            <a:r>
              <a:rPr lang="pt-BR" sz="1100" b="0" dirty="0" err="1"/>
              <a:t>posted</a:t>
            </a:r>
            <a:r>
              <a:rPr lang="pt-BR" sz="1100" b="0" dirty="0"/>
              <a:t> </a:t>
            </a:r>
            <a:r>
              <a:rPr lang="pt-BR" sz="1100" b="0" dirty="0" err="1"/>
              <a:t>was</a:t>
            </a:r>
            <a:r>
              <a:rPr lang="pt-BR" sz="1100" b="0" dirty="0"/>
              <a:t> </a:t>
            </a:r>
            <a:r>
              <a:rPr lang="pt-BR" sz="1100" b="0" dirty="0" err="1"/>
              <a:t>aldo</a:t>
            </a:r>
            <a:r>
              <a:rPr lang="pt-BR" sz="1100" b="0" dirty="0"/>
              <a:t> </a:t>
            </a:r>
            <a:r>
              <a:rPr lang="pt-BR" sz="1100" b="0" dirty="0" err="1"/>
              <a:t>retrieved</a:t>
            </a:r>
            <a:endParaRPr lang="pt-BR" sz="1100" b="0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C7F64EF-10C3-904B-A37B-3E63247799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678" y="3621958"/>
            <a:ext cx="1900747" cy="858188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C71C7511-EC70-C440-A2AD-5FC851419F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325" y="3330363"/>
            <a:ext cx="1899975" cy="29159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17789ED6-ECBA-D142-9DC9-7343B49B0C0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31" r="13355"/>
          <a:stretch/>
        </p:blipFill>
        <p:spPr>
          <a:xfrm>
            <a:off x="3010411" y="3327887"/>
            <a:ext cx="1844278" cy="1152259"/>
          </a:xfrm>
          <a:prstGeom prst="rect">
            <a:avLst/>
          </a:prstGeom>
        </p:spPr>
      </p:pic>
      <p:pic>
        <p:nvPicPr>
          <p:cNvPr id="36" name="Imagem 35">
            <a:extLst>
              <a:ext uri="{FF2B5EF4-FFF2-40B4-BE49-F238E27FC236}">
                <a16:creationId xmlns:a16="http://schemas.microsoft.com/office/drawing/2014/main" id="{4D487B02-7D43-7A48-85CD-A8143131AAA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0704" y="3327886"/>
            <a:ext cx="1889565" cy="1152259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F33287C7-DD05-714D-B2F0-F420E3DFFEB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434" y="5919918"/>
            <a:ext cx="570866" cy="666010"/>
          </a:xfrm>
          <a:prstGeom prst="rect">
            <a:avLst/>
          </a:prstGeom>
        </p:spPr>
      </p:pic>
      <p:pic>
        <p:nvPicPr>
          <p:cNvPr id="39" name="Imagem 38">
            <a:extLst>
              <a:ext uri="{FF2B5EF4-FFF2-40B4-BE49-F238E27FC236}">
                <a16:creationId xmlns:a16="http://schemas.microsoft.com/office/drawing/2014/main" id="{6ACD9172-6790-0B4D-B3F8-CD9BC3A4126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3694" y="5919918"/>
            <a:ext cx="570866" cy="666010"/>
          </a:xfrm>
          <a:prstGeom prst="rect">
            <a:avLst/>
          </a:prstGeom>
        </p:spPr>
      </p:pic>
      <p:pic>
        <p:nvPicPr>
          <p:cNvPr id="40" name="Imagem 39">
            <a:extLst>
              <a:ext uri="{FF2B5EF4-FFF2-40B4-BE49-F238E27FC236}">
                <a16:creationId xmlns:a16="http://schemas.microsoft.com/office/drawing/2014/main" id="{916210E9-6375-9F45-97B4-E34E33CB66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403" y="5919918"/>
            <a:ext cx="570866" cy="666010"/>
          </a:xfrm>
          <a:prstGeom prst="rect">
            <a:avLst/>
          </a:prstGeom>
        </p:spPr>
      </p:pic>
      <p:pic>
        <p:nvPicPr>
          <p:cNvPr id="41" name="Imagem 40">
            <a:extLst>
              <a:ext uri="{FF2B5EF4-FFF2-40B4-BE49-F238E27FC236}">
                <a16:creationId xmlns:a16="http://schemas.microsoft.com/office/drawing/2014/main" id="{C462AC8F-CD56-8D48-99F3-8734B88AB41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5086" y="5919918"/>
            <a:ext cx="570866" cy="666010"/>
          </a:xfrm>
          <a:prstGeom prst="rect">
            <a:avLst/>
          </a:prstGeom>
        </p:spPr>
      </p:pic>
      <p:pic>
        <p:nvPicPr>
          <p:cNvPr id="38" name="Imagem 37">
            <a:extLst>
              <a:ext uri="{FF2B5EF4-FFF2-40B4-BE49-F238E27FC236}">
                <a16:creationId xmlns:a16="http://schemas.microsoft.com/office/drawing/2014/main" id="{0141518D-5EB7-BE4D-97F5-C415693F0B63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21"/>
          <a:stretch/>
        </p:blipFill>
        <p:spPr>
          <a:xfrm>
            <a:off x="7291450" y="3327886"/>
            <a:ext cx="1854502" cy="1152259"/>
          </a:xfrm>
          <a:prstGeom prst="rect">
            <a:avLst/>
          </a:prstGeom>
        </p:spPr>
      </p:pic>
      <p:pic>
        <p:nvPicPr>
          <p:cNvPr id="43" name="Imagem 42">
            <a:extLst>
              <a:ext uri="{FF2B5EF4-FFF2-40B4-BE49-F238E27FC236}">
                <a16:creationId xmlns:a16="http://schemas.microsoft.com/office/drawing/2014/main" id="{7A23F133-A96E-194E-BE0D-C90B39ABE5AF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1" b="50000"/>
          <a:stretch/>
        </p:blipFill>
        <p:spPr>
          <a:xfrm>
            <a:off x="724811" y="6136926"/>
            <a:ext cx="1422400" cy="268276"/>
          </a:xfrm>
          <a:prstGeom prst="rect">
            <a:avLst/>
          </a:prstGeom>
        </p:spPr>
      </p:pic>
      <p:pic>
        <p:nvPicPr>
          <p:cNvPr id="46" name="Imagem 45">
            <a:extLst>
              <a:ext uri="{FF2B5EF4-FFF2-40B4-BE49-F238E27FC236}">
                <a16:creationId xmlns:a16="http://schemas.microsoft.com/office/drawing/2014/main" id="{27028435-92ED-7B42-9D7F-05175C9165FE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b="26949"/>
          <a:stretch/>
        </p:blipFill>
        <p:spPr>
          <a:xfrm>
            <a:off x="2909199" y="6119228"/>
            <a:ext cx="1422400" cy="231266"/>
          </a:xfrm>
          <a:prstGeom prst="rect">
            <a:avLst/>
          </a:prstGeom>
        </p:spPr>
      </p:pic>
      <p:pic>
        <p:nvPicPr>
          <p:cNvPr id="47" name="Imagem 46">
            <a:extLst>
              <a:ext uri="{FF2B5EF4-FFF2-40B4-BE49-F238E27FC236}">
                <a16:creationId xmlns:a16="http://schemas.microsoft.com/office/drawing/2014/main" id="{BA10E851-863D-304C-80FF-F3365BAB898A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098"/>
          <a:stretch/>
        </p:blipFill>
        <p:spPr>
          <a:xfrm>
            <a:off x="5027003" y="6097170"/>
            <a:ext cx="1422400" cy="249841"/>
          </a:xfrm>
          <a:prstGeom prst="rect">
            <a:avLst/>
          </a:prstGeom>
        </p:spPr>
      </p:pic>
      <p:pic>
        <p:nvPicPr>
          <p:cNvPr id="49" name="Imagem 48">
            <a:extLst>
              <a:ext uri="{FF2B5EF4-FFF2-40B4-BE49-F238E27FC236}">
                <a16:creationId xmlns:a16="http://schemas.microsoft.com/office/drawing/2014/main" id="{846E84E4-238C-EA4C-9A6E-6E63C2768441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575"/>
          <a:stretch/>
        </p:blipFill>
        <p:spPr>
          <a:xfrm>
            <a:off x="7185412" y="6126109"/>
            <a:ext cx="1422400" cy="255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720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8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8" y="720012"/>
            <a:ext cx="8753315" cy="747897"/>
          </a:xfrm>
        </p:spPr>
        <p:txBody>
          <a:bodyPr/>
          <a:lstStyle/>
          <a:p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interpret</a:t>
            </a:r>
            <a:r>
              <a:rPr lang="pt-BR" dirty="0"/>
              <a:t> </a:t>
            </a:r>
            <a:r>
              <a:rPr lang="pt-BR" dirty="0" err="1"/>
              <a:t>each</a:t>
            </a:r>
            <a:r>
              <a:rPr lang="pt-BR" dirty="0"/>
              <a:t> </a:t>
            </a:r>
            <a:r>
              <a:rPr lang="pt-BR" dirty="0" err="1"/>
              <a:t>news</a:t>
            </a:r>
            <a:r>
              <a:rPr lang="pt-BR" dirty="0"/>
              <a:t> </a:t>
            </a:r>
            <a:r>
              <a:rPr lang="pt-BR" dirty="0" err="1"/>
              <a:t>feed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posts </a:t>
            </a:r>
            <a:r>
              <a:rPr lang="pt-BR" dirty="0" err="1"/>
              <a:t>from</a:t>
            </a:r>
            <a:r>
              <a:rPr lang="pt-BR" dirty="0"/>
              <a:t> </a:t>
            </a:r>
            <a:r>
              <a:rPr lang="pt-BR" dirty="0" err="1"/>
              <a:t>Cointelegraph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</a:t>
            </a:r>
            <a:r>
              <a:rPr lang="pt-BR" dirty="0" err="1"/>
              <a:t>Reddit</a:t>
            </a:r>
            <a:r>
              <a:rPr lang="pt-BR" dirty="0"/>
              <a:t>, a </a:t>
            </a:r>
            <a:r>
              <a:rPr lang="pt-BR" dirty="0" err="1"/>
              <a:t>sentiment</a:t>
            </a:r>
            <a:r>
              <a:rPr lang="pt-BR" dirty="0"/>
              <a:t> </a:t>
            </a:r>
            <a:r>
              <a:rPr lang="pt-BR" dirty="0" err="1"/>
              <a:t>analysis</a:t>
            </a:r>
            <a:r>
              <a:rPr lang="pt-BR" dirty="0"/>
              <a:t> </a:t>
            </a:r>
            <a:r>
              <a:rPr lang="pt-BR" dirty="0" err="1"/>
              <a:t>was</a:t>
            </a:r>
            <a:r>
              <a:rPr lang="pt-BR" dirty="0"/>
              <a:t> </a:t>
            </a:r>
            <a:r>
              <a:rPr lang="pt-BR" dirty="0" err="1"/>
              <a:t>conducted</a:t>
            </a:r>
            <a:endParaRPr lang="pt-BR" dirty="0"/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Natural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Language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Processing</a:t>
            </a:r>
            <a:endParaRPr lang="pt-BR" sz="2100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5" name="Seta para a Direita 4">
            <a:extLst>
              <a:ext uri="{FF2B5EF4-FFF2-40B4-BE49-F238E27FC236}">
                <a16:creationId xmlns:a16="http://schemas.microsoft.com/office/drawing/2014/main" id="{B780F89E-FDD3-A14D-924D-61DC12CEAF68}"/>
              </a:ext>
            </a:extLst>
          </p:cNvPr>
          <p:cNvSpPr/>
          <p:nvPr/>
        </p:nvSpPr>
        <p:spPr>
          <a:xfrm>
            <a:off x="3874770" y="4386852"/>
            <a:ext cx="434340" cy="431664"/>
          </a:xfrm>
          <a:prstGeom prst="rightArrow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5E4C16CC-E895-9F4D-AC6C-63EBC831B02D}"/>
              </a:ext>
            </a:extLst>
          </p:cNvPr>
          <p:cNvSpPr/>
          <p:nvPr/>
        </p:nvSpPr>
        <p:spPr>
          <a:xfrm>
            <a:off x="2882900" y="6070599"/>
            <a:ext cx="2059512" cy="319553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dirty="0" err="1">
                <a:solidFill>
                  <a:schemeClr val="bg1"/>
                </a:solidFill>
              </a:rPr>
              <a:t>Cointelegraph</a:t>
            </a:r>
            <a:r>
              <a:rPr lang="pt-BR" sz="1500" dirty="0">
                <a:solidFill>
                  <a:schemeClr val="bg1"/>
                </a:solidFill>
              </a:rPr>
              <a:t> </a:t>
            </a:r>
            <a:r>
              <a:rPr lang="pt-BR" sz="1500" dirty="0" err="1">
                <a:solidFill>
                  <a:schemeClr val="bg1"/>
                </a:solidFill>
              </a:rPr>
              <a:t>wordcloud</a:t>
            </a:r>
            <a:endParaRPr lang="pt-BR" sz="1500" dirty="0">
              <a:solidFill>
                <a:schemeClr val="bg1"/>
              </a:solidFill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458D551F-5D98-544E-BE2E-9B8FD2712BAF}"/>
              </a:ext>
            </a:extLst>
          </p:cNvPr>
          <p:cNvSpPr/>
          <p:nvPr/>
        </p:nvSpPr>
        <p:spPr>
          <a:xfrm>
            <a:off x="4434840" y="4308362"/>
            <a:ext cx="4839149" cy="5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b="0" dirty="0"/>
              <a:t>Overview </a:t>
            </a:r>
            <a:r>
              <a:rPr lang="pt-BR" sz="1500" b="0" dirty="0" err="1"/>
              <a:t>of</a:t>
            </a:r>
            <a:r>
              <a:rPr lang="pt-BR" sz="1500" b="0" dirty="0"/>
              <a:t> </a:t>
            </a:r>
            <a:r>
              <a:rPr lang="pt-BR" sz="1500" b="0" dirty="0" err="1"/>
              <a:t>the</a:t>
            </a:r>
            <a:r>
              <a:rPr lang="pt-BR" sz="1500" b="0" dirty="0"/>
              <a:t> </a:t>
            </a:r>
            <a:r>
              <a:rPr lang="pt-BR" sz="1500" b="0" dirty="0" err="1"/>
              <a:t>average</a:t>
            </a:r>
            <a:r>
              <a:rPr lang="pt-BR" sz="1500" b="0" dirty="0"/>
              <a:t> </a:t>
            </a:r>
            <a:r>
              <a:rPr lang="pt-BR" sz="1500" b="0" dirty="0" err="1"/>
              <a:t>and</a:t>
            </a:r>
            <a:r>
              <a:rPr lang="pt-BR" sz="1500" b="0" dirty="0"/>
              <a:t> </a:t>
            </a:r>
            <a:r>
              <a:rPr lang="pt-BR" sz="1500" b="0" dirty="0" err="1"/>
              <a:t>the</a:t>
            </a:r>
            <a:r>
              <a:rPr lang="pt-BR" sz="1500" b="0" dirty="0"/>
              <a:t> </a:t>
            </a:r>
            <a:r>
              <a:rPr lang="pt-BR" sz="1500" b="0" dirty="0" err="1"/>
              <a:t>maximum</a:t>
            </a:r>
            <a:r>
              <a:rPr lang="pt-BR" sz="1500" b="0" dirty="0"/>
              <a:t> </a:t>
            </a:r>
            <a:r>
              <a:rPr lang="pt-BR" sz="1500" b="0" dirty="0" err="1"/>
              <a:t>expedinture</a:t>
            </a:r>
            <a:r>
              <a:rPr lang="pt-BR" sz="1500" b="0" dirty="0"/>
              <a:t> per </a:t>
            </a:r>
            <a:r>
              <a:rPr lang="pt-BR" sz="1500" b="0" dirty="0" err="1"/>
              <a:t>each</a:t>
            </a:r>
            <a:r>
              <a:rPr lang="pt-BR" sz="1500" b="0" dirty="0"/>
              <a:t> </a:t>
            </a:r>
            <a:r>
              <a:rPr lang="pt-BR" sz="1500" b="0" dirty="0" err="1"/>
              <a:t>political</a:t>
            </a:r>
            <a:r>
              <a:rPr lang="pt-BR" sz="1500" b="0" dirty="0"/>
              <a:t> </a:t>
            </a:r>
            <a:r>
              <a:rPr lang="pt-BR" sz="1500" b="0" dirty="0" err="1"/>
              <a:t>party</a:t>
            </a:r>
            <a:endParaRPr lang="pt-BR" sz="1500" b="0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C168ECF4-7054-8440-ADA0-13BD234686C9}"/>
              </a:ext>
            </a:extLst>
          </p:cNvPr>
          <p:cNvSpPr/>
          <p:nvPr/>
        </p:nvSpPr>
        <p:spPr>
          <a:xfrm>
            <a:off x="4660900" y="3617255"/>
            <a:ext cx="2006599" cy="315181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</a:pPr>
            <a:r>
              <a:rPr lang="pt-BR" sz="1500" dirty="0" err="1">
                <a:solidFill>
                  <a:schemeClr val="bg1"/>
                </a:solidFill>
              </a:rPr>
              <a:t>Reddit</a:t>
            </a:r>
            <a:r>
              <a:rPr lang="pt-BR" sz="1500" dirty="0">
                <a:solidFill>
                  <a:schemeClr val="bg1"/>
                </a:solidFill>
              </a:rPr>
              <a:t> </a:t>
            </a:r>
            <a:r>
              <a:rPr lang="pt-BR" sz="1500" dirty="0" err="1">
                <a:solidFill>
                  <a:schemeClr val="bg1"/>
                </a:solidFill>
              </a:rPr>
              <a:t>wordcloud</a:t>
            </a:r>
            <a:endParaRPr lang="pt-BR" sz="1500" dirty="0">
              <a:solidFill>
                <a:schemeClr val="bg1"/>
              </a:solidFill>
            </a:endParaRPr>
          </a:p>
        </p:txBody>
      </p:sp>
      <p:sp>
        <p:nvSpPr>
          <p:cNvPr id="15" name="Seta para a Direita 14">
            <a:extLst>
              <a:ext uri="{FF2B5EF4-FFF2-40B4-BE49-F238E27FC236}">
                <a16:creationId xmlns:a16="http://schemas.microsoft.com/office/drawing/2014/main" id="{B6A2EFE4-C3D1-674F-99CD-573FE58A89B7}"/>
              </a:ext>
            </a:extLst>
          </p:cNvPr>
          <p:cNvSpPr/>
          <p:nvPr/>
        </p:nvSpPr>
        <p:spPr>
          <a:xfrm>
            <a:off x="3874770" y="5061030"/>
            <a:ext cx="434340" cy="431664"/>
          </a:xfrm>
          <a:prstGeom prst="rightArrow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75FF3575-4A07-6A4B-89E7-A6BC49DBCBEC}"/>
              </a:ext>
            </a:extLst>
          </p:cNvPr>
          <p:cNvSpPr/>
          <p:nvPr/>
        </p:nvSpPr>
        <p:spPr>
          <a:xfrm>
            <a:off x="737999" y="2248060"/>
            <a:ext cx="8535990" cy="355201"/>
          </a:xfrm>
          <a:prstGeom prst="rect">
            <a:avLst/>
          </a:prstGeom>
          <a:solidFill>
            <a:schemeClr val="accent4">
              <a:lumMod val="2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1800" dirty="0" err="1">
                <a:solidFill>
                  <a:schemeClr val="bg1"/>
                </a:solidFill>
                <a:sym typeface="+mn-lt"/>
              </a:rPr>
              <a:t>Step</a:t>
            </a:r>
            <a:r>
              <a:rPr lang="pt-BR" sz="1800" dirty="0">
                <a:solidFill>
                  <a:schemeClr val="bg1"/>
                </a:solidFill>
                <a:sym typeface="+mn-lt"/>
              </a:rPr>
              <a:t> 2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–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Sentiment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analysis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on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news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and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posts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headlines</a:t>
            </a:r>
            <a:endParaRPr lang="pt-BR" sz="1800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537F03C-627E-654B-9257-DBF34DF8589D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DB4FF27B-B7FE-5648-A33A-3F47845EC2F0}"/>
              </a:ext>
            </a:extLst>
          </p:cNvPr>
          <p:cNvSpPr txBox="1">
            <a:spLocks/>
          </p:cNvSpPr>
          <p:nvPr/>
        </p:nvSpPr>
        <p:spPr>
          <a:xfrm>
            <a:off x="646428" y="296880"/>
            <a:ext cx="4346269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Methodology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AA1491B-D541-7043-843F-8195239249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689" y="4223244"/>
            <a:ext cx="4305300" cy="22479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31D3E263-0E17-9842-90E3-310FD640E8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99" y="3548964"/>
            <a:ext cx="4356100" cy="2235200"/>
          </a:xfrm>
          <a:prstGeom prst="rect">
            <a:avLst/>
          </a:prstGeom>
        </p:spPr>
      </p:pic>
      <p:sp>
        <p:nvSpPr>
          <p:cNvPr id="24" name="Retângulo 23">
            <a:extLst>
              <a:ext uri="{FF2B5EF4-FFF2-40B4-BE49-F238E27FC236}">
                <a16:creationId xmlns:a16="http://schemas.microsoft.com/office/drawing/2014/main" id="{A88FB33B-0C22-614C-9FCF-D404CA6161E8}"/>
              </a:ext>
            </a:extLst>
          </p:cNvPr>
          <p:cNvSpPr/>
          <p:nvPr/>
        </p:nvSpPr>
        <p:spPr>
          <a:xfrm>
            <a:off x="737999" y="2747262"/>
            <a:ext cx="8535990" cy="69530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pt-BR" sz="1500" b="0" dirty="0" err="1"/>
              <a:t>After</a:t>
            </a:r>
            <a:r>
              <a:rPr lang="pt-BR" sz="1500" b="0" dirty="0"/>
              <a:t> </a:t>
            </a:r>
            <a:r>
              <a:rPr lang="pt-BR" sz="1500" b="0" dirty="0" err="1"/>
              <a:t>cleaning</a:t>
            </a:r>
            <a:r>
              <a:rPr lang="pt-BR" sz="1500" b="0" dirty="0"/>
              <a:t> </a:t>
            </a:r>
            <a:r>
              <a:rPr lang="pt-BR" sz="1500" b="0" dirty="0" err="1"/>
              <a:t>the</a:t>
            </a:r>
            <a:r>
              <a:rPr lang="pt-BR" sz="1500" b="0" dirty="0"/>
              <a:t> </a:t>
            </a:r>
            <a:r>
              <a:rPr lang="pt-BR" sz="1500" b="0" dirty="0" err="1"/>
              <a:t>headlines</a:t>
            </a:r>
            <a:r>
              <a:rPr lang="pt-BR" sz="1500" b="0" dirty="0"/>
              <a:t> </a:t>
            </a:r>
            <a:r>
              <a:rPr lang="pt-BR" sz="1500" b="0" dirty="0" err="1"/>
              <a:t>using</a:t>
            </a:r>
            <a:r>
              <a:rPr lang="pt-BR" sz="1500" b="0" dirty="0"/>
              <a:t> </a:t>
            </a:r>
            <a:r>
              <a:rPr lang="pt-BR" sz="1500" b="0" dirty="0" err="1"/>
              <a:t>stopwords</a:t>
            </a:r>
            <a:r>
              <a:rPr lang="pt-BR" sz="1500" b="0" dirty="0"/>
              <a:t> </a:t>
            </a:r>
            <a:r>
              <a:rPr lang="pt-BR" sz="1500" b="0" dirty="0" err="1"/>
              <a:t>and</a:t>
            </a:r>
            <a:r>
              <a:rPr lang="pt-BR" sz="1500" b="0" dirty="0"/>
              <a:t> </a:t>
            </a:r>
            <a:r>
              <a:rPr lang="pt-BR" sz="1500" b="0" dirty="0" err="1"/>
              <a:t>WordNetLemmatizer</a:t>
            </a:r>
            <a:r>
              <a:rPr lang="pt-BR" sz="1500" b="0" dirty="0"/>
              <a:t> </a:t>
            </a:r>
            <a:r>
              <a:rPr lang="pt-BR" sz="1500" b="0" dirty="0" err="1"/>
              <a:t>from</a:t>
            </a:r>
            <a:r>
              <a:rPr lang="pt-BR" sz="1500" b="0" dirty="0"/>
              <a:t> </a:t>
            </a:r>
            <a:r>
              <a:rPr lang="pt-BR" sz="1500" b="0" dirty="0" err="1"/>
              <a:t>nltk</a:t>
            </a:r>
            <a:r>
              <a:rPr lang="pt-BR" sz="1500" b="0" dirty="0"/>
              <a:t>, </a:t>
            </a:r>
            <a:r>
              <a:rPr lang="pt-BR" sz="1500" b="0" dirty="0" err="1"/>
              <a:t>wordclouds</a:t>
            </a:r>
            <a:r>
              <a:rPr lang="pt-BR" sz="1500" b="0" dirty="0"/>
              <a:t> </a:t>
            </a:r>
            <a:r>
              <a:rPr lang="pt-BR" sz="1500" b="0" dirty="0" err="1"/>
              <a:t>were</a:t>
            </a:r>
            <a:r>
              <a:rPr lang="pt-BR" sz="1500" b="0" dirty="0"/>
              <a:t> </a:t>
            </a:r>
            <a:r>
              <a:rPr lang="pt-BR" sz="1500" b="0" dirty="0" err="1"/>
              <a:t>plotted</a:t>
            </a:r>
            <a:r>
              <a:rPr lang="pt-BR" sz="1500" b="0" dirty="0"/>
              <a:t> </a:t>
            </a:r>
            <a:r>
              <a:rPr lang="pt-BR" sz="1500" b="0" dirty="0" err="1"/>
              <a:t>and</a:t>
            </a:r>
            <a:r>
              <a:rPr lang="pt-BR" sz="1500" b="0" dirty="0"/>
              <a:t> </a:t>
            </a:r>
            <a:r>
              <a:rPr lang="pt-BR" sz="1500" b="0" dirty="0" err="1"/>
              <a:t>sentiment</a:t>
            </a:r>
            <a:r>
              <a:rPr lang="pt-BR" sz="1500" b="0" dirty="0"/>
              <a:t> </a:t>
            </a:r>
            <a:r>
              <a:rPr lang="pt-BR" sz="1500" b="0" dirty="0" err="1"/>
              <a:t>analysis</a:t>
            </a:r>
            <a:r>
              <a:rPr lang="pt-BR" sz="1500" b="0" dirty="0"/>
              <a:t> </a:t>
            </a:r>
            <a:r>
              <a:rPr lang="pt-BR" sz="1500" b="0" dirty="0" err="1"/>
              <a:t>were</a:t>
            </a:r>
            <a:r>
              <a:rPr lang="pt-BR" sz="1500" b="0" dirty="0"/>
              <a:t> </a:t>
            </a:r>
            <a:r>
              <a:rPr lang="pt-BR" sz="1500" b="0" dirty="0" err="1"/>
              <a:t>conducted</a:t>
            </a:r>
            <a:r>
              <a:rPr lang="pt-BR" sz="1500" b="0" dirty="0"/>
              <a:t> in </a:t>
            </a:r>
            <a:r>
              <a:rPr lang="pt-BR" sz="1500" b="0" dirty="0" err="1"/>
              <a:t>the</a:t>
            </a:r>
            <a:r>
              <a:rPr lang="pt-BR" sz="1500" b="0" dirty="0"/>
              <a:t> </a:t>
            </a:r>
            <a:r>
              <a:rPr lang="pt-BR" sz="1500" b="0" dirty="0" err="1"/>
              <a:t>headlines</a:t>
            </a:r>
            <a:r>
              <a:rPr lang="pt-BR" sz="1500" b="0" dirty="0"/>
              <a:t> </a:t>
            </a:r>
            <a:r>
              <a:rPr lang="pt-BR" sz="1500" b="0" dirty="0" err="1"/>
              <a:t>from</a:t>
            </a:r>
            <a:r>
              <a:rPr lang="pt-BR" sz="1500" b="0" dirty="0"/>
              <a:t> </a:t>
            </a:r>
            <a:r>
              <a:rPr lang="pt-BR" sz="1500" b="0" dirty="0" err="1"/>
              <a:t>Cointelegraph</a:t>
            </a:r>
            <a:r>
              <a:rPr lang="pt-BR" sz="1500" b="0" dirty="0"/>
              <a:t> </a:t>
            </a:r>
            <a:r>
              <a:rPr lang="pt-BR" sz="1500" b="0" dirty="0" err="1"/>
              <a:t>and</a:t>
            </a:r>
            <a:r>
              <a:rPr lang="pt-BR" sz="1500" b="0" dirty="0"/>
              <a:t> </a:t>
            </a:r>
            <a:r>
              <a:rPr lang="pt-BR" sz="1500" b="0" dirty="0" err="1"/>
              <a:t>Reddit</a:t>
            </a:r>
            <a:r>
              <a:rPr lang="pt-BR" sz="1500" b="0" dirty="0"/>
              <a:t>, </a:t>
            </a:r>
            <a:r>
              <a:rPr lang="pt-BR" sz="1500" b="0" dirty="0" err="1"/>
              <a:t>retrieving</a:t>
            </a:r>
            <a:r>
              <a:rPr lang="pt-BR" sz="1500" b="0" dirty="0"/>
              <a:t> </a:t>
            </a:r>
            <a:r>
              <a:rPr lang="pt-BR" sz="1500" b="0" dirty="0" err="1"/>
              <a:t>the</a:t>
            </a:r>
            <a:r>
              <a:rPr lang="pt-BR" sz="1500" b="0" dirty="0"/>
              <a:t> </a:t>
            </a:r>
            <a:r>
              <a:rPr lang="pt-BR" sz="1500" b="0" dirty="0" err="1"/>
              <a:t>polarity</a:t>
            </a:r>
            <a:r>
              <a:rPr lang="pt-BR" sz="1500" b="0" dirty="0"/>
              <a:t> </a:t>
            </a:r>
            <a:r>
              <a:rPr lang="pt-BR" sz="1500" b="0" dirty="0" err="1"/>
              <a:t>and</a:t>
            </a:r>
            <a:r>
              <a:rPr lang="pt-BR" sz="1500" b="0" dirty="0"/>
              <a:t> </a:t>
            </a:r>
            <a:r>
              <a:rPr lang="pt-BR" sz="1500" b="0" dirty="0" err="1"/>
              <a:t>subjectivity</a:t>
            </a:r>
            <a:r>
              <a:rPr lang="pt-BR" sz="1500" b="0" dirty="0"/>
              <a:t> </a:t>
            </a:r>
            <a:r>
              <a:rPr lang="pt-BR" sz="1500" b="0" dirty="0" err="1"/>
              <a:t>from</a:t>
            </a:r>
            <a:r>
              <a:rPr lang="pt-BR" sz="1500" b="0" dirty="0"/>
              <a:t> </a:t>
            </a:r>
            <a:r>
              <a:rPr lang="pt-BR" sz="1500" b="0" dirty="0" err="1"/>
              <a:t>each</a:t>
            </a:r>
            <a:r>
              <a:rPr lang="pt-BR" sz="1500" b="0" dirty="0"/>
              <a:t> </a:t>
            </a:r>
            <a:r>
              <a:rPr lang="pt-BR" sz="1500" b="0" dirty="0" err="1"/>
              <a:t>news</a:t>
            </a:r>
            <a:r>
              <a:rPr lang="pt-BR" sz="1500" b="0" dirty="0"/>
              <a:t> </a:t>
            </a:r>
            <a:r>
              <a:rPr lang="pt-BR" sz="1500" b="0" dirty="0" err="1"/>
              <a:t>and</a:t>
            </a:r>
            <a:r>
              <a:rPr lang="pt-BR" sz="1500" b="0" dirty="0"/>
              <a:t> post</a:t>
            </a:r>
          </a:p>
        </p:txBody>
      </p:sp>
    </p:spTree>
    <p:extLst>
      <p:ext uri="{BB962C8B-B14F-4D97-AF65-F5344CB8AC3E}">
        <p14:creationId xmlns:p14="http://schemas.microsoft.com/office/powerpoint/2010/main" val="1718771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0D4D0E84-9139-2447-ABE6-BA436AAC3F48}"/>
              </a:ext>
            </a:extLst>
          </p:cNvPr>
          <p:cNvCxnSpPr>
            <a:cxnSpLocks/>
          </p:cNvCxnSpPr>
          <p:nvPr/>
        </p:nvCxnSpPr>
        <p:spPr>
          <a:xfrm>
            <a:off x="3901440" y="2752655"/>
            <a:ext cx="0" cy="3800545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8" y="720012"/>
            <a:ext cx="8753315" cy="747897"/>
          </a:xfrm>
        </p:spPr>
        <p:txBody>
          <a:bodyPr/>
          <a:lstStyle/>
          <a:p>
            <a:r>
              <a:rPr lang="pt-BR" dirty="0"/>
              <a:t>The </a:t>
            </a:r>
            <a:r>
              <a:rPr lang="pt-BR" dirty="0" err="1"/>
              <a:t>information</a:t>
            </a:r>
            <a:r>
              <a:rPr lang="pt-BR" dirty="0"/>
              <a:t> </a:t>
            </a:r>
            <a:r>
              <a:rPr lang="pt-BR" dirty="0" err="1"/>
              <a:t>retrieved</a:t>
            </a:r>
            <a:r>
              <a:rPr lang="pt-BR" dirty="0"/>
              <a:t> </a:t>
            </a:r>
            <a:r>
              <a:rPr lang="pt-BR" dirty="0" err="1"/>
              <a:t>was</a:t>
            </a:r>
            <a:r>
              <a:rPr lang="pt-BR" dirty="0"/>
              <a:t> </a:t>
            </a:r>
            <a:r>
              <a:rPr lang="pt-BR" dirty="0" err="1"/>
              <a:t>cleaned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</a:t>
            </a:r>
            <a:r>
              <a:rPr lang="pt-BR" dirty="0" err="1"/>
              <a:t>joined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llow</a:t>
            </a:r>
            <a:r>
              <a:rPr lang="pt-BR" dirty="0"/>
              <a:t> </a:t>
            </a:r>
            <a:r>
              <a:rPr lang="pt-BR" dirty="0" err="1"/>
              <a:t>analysis</a:t>
            </a:r>
            <a:r>
              <a:rPr lang="pt-BR" dirty="0"/>
              <a:t>. A </a:t>
            </a:r>
            <a:r>
              <a:rPr lang="pt-BR" dirty="0" err="1"/>
              <a:t>shiny</a:t>
            </a:r>
            <a:r>
              <a:rPr lang="pt-BR" dirty="0"/>
              <a:t> </a:t>
            </a:r>
            <a:r>
              <a:rPr lang="pt-BR" dirty="0" err="1"/>
              <a:t>app</a:t>
            </a:r>
            <a:r>
              <a:rPr lang="pt-BR" dirty="0"/>
              <a:t> </a:t>
            </a:r>
            <a:r>
              <a:rPr lang="pt-BR" dirty="0" err="1"/>
              <a:t>was</a:t>
            </a:r>
            <a:r>
              <a:rPr lang="pt-BR" dirty="0"/>
              <a:t> </a:t>
            </a:r>
            <a:r>
              <a:rPr lang="pt-BR" dirty="0" err="1"/>
              <a:t>developped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facilitate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visualization</a:t>
            </a:r>
            <a:r>
              <a:rPr lang="pt-BR" dirty="0"/>
              <a:t> </a:t>
            </a:r>
            <a:r>
              <a:rPr lang="pt-BR" dirty="0" err="1"/>
              <a:t>of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data</a:t>
            </a:r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Correlation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analysis</a:t>
            </a:r>
            <a:endParaRPr lang="pt-BR" sz="2100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5" name="Seta para a Direita 4">
            <a:extLst>
              <a:ext uri="{FF2B5EF4-FFF2-40B4-BE49-F238E27FC236}">
                <a16:creationId xmlns:a16="http://schemas.microsoft.com/office/drawing/2014/main" id="{B780F89E-FDD3-A14D-924D-61DC12CEAF68}"/>
              </a:ext>
            </a:extLst>
          </p:cNvPr>
          <p:cNvSpPr/>
          <p:nvPr/>
        </p:nvSpPr>
        <p:spPr>
          <a:xfrm>
            <a:off x="3749675" y="4189251"/>
            <a:ext cx="303530" cy="370282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pt-BR" sz="1500" b="0" dirty="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5E4C16CC-E895-9F4D-AC6C-63EBC831B02D}"/>
              </a:ext>
            </a:extLst>
          </p:cNvPr>
          <p:cNvSpPr/>
          <p:nvPr/>
        </p:nvSpPr>
        <p:spPr>
          <a:xfrm>
            <a:off x="4053205" y="2781008"/>
            <a:ext cx="5220783" cy="5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b="0" dirty="0"/>
              <a:t>A </a:t>
            </a:r>
            <a:r>
              <a:rPr lang="pt-BR" sz="1500" b="0" dirty="0" err="1"/>
              <a:t>Shiny</a:t>
            </a:r>
            <a:r>
              <a:rPr lang="pt-BR" sz="1500" b="0" dirty="0"/>
              <a:t> </a:t>
            </a:r>
            <a:r>
              <a:rPr lang="pt-BR" sz="1500" b="0" dirty="0" err="1"/>
              <a:t>app</a:t>
            </a:r>
            <a:r>
              <a:rPr lang="pt-BR" sz="1500" b="0" dirty="0"/>
              <a:t> </a:t>
            </a:r>
            <a:r>
              <a:rPr lang="pt-BR" sz="1500" b="0" dirty="0" err="1"/>
              <a:t>allowed</a:t>
            </a:r>
            <a:r>
              <a:rPr lang="pt-BR" sz="1500" b="0" dirty="0"/>
              <a:t> </a:t>
            </a:r>
            <a:r>
              <a:rPr lang="pt-BR" sz="1500" b="0" dirty="0" err="1"/>
              <a:t>fast</a:t>
            </a:r>
            <a:r>
              <a:rPr lang="pt-BR" sz="1500" b="0" dirty="0"/>
              <a:t> </a:t>
            </a:r>
            <a:r>
              <a:rPr lang="pt-BR" sz="1500" b="0" dirty="0" err="1"/>
              <a:t>interaction</a:t>
            </a:r>
            <a:r>
              <a:rPr lang="pt-BR" sz="1500" b="0" dirty="0"/>
              <a:t> </a:t>
            </a:r>
            <a:r>
              <a:rPr lang="pt-BR" sz="1500" b="0" dirty="0" err="1"/>
              <a:t>with</a:t>
            </a:r>
            <a:r>
              <a:rPr lang="pt-BR" sz="1500" b="0" dirty="0"/>
              <a:t> </a:t>
            </a:r>
            <a:r>
              <a:rPr lang="pt-BR" sz="1500" b="0" dirty="0" err="1"/>
              <a:t>the</a:t>
            </a:r>
            <a:r>
              <a:rPr lang="pt-BR" sz="1500" b="0" dirty="0"/>
              <a:t> data </a:t>
            </a:r>
            <a:r>
              <a:rPr lang="pt-BR" sz="1500" b="0" dirty="0" err="1"/>
              <a:t>and</a:t>
            </a:r>
            <a:r>
              <a:rPr lang="pt-BR" sz="1500" b="0" dirty="0"/>
              <a:t> </a:t>
            </a:r>
            <a:r>
              <a:rPr lang="pt-BR" sz="1500" b="0" dirty="0" err="1"/>
              <a:t>the</a:t>
            </a:r>
            <a:r>
              <a:rPr lang="pt-BR" sz="1500" b="0" dirty="0"/>
              <a:t> </a:t>
            </a:r>
            <a:r>
              <a:rPr lang="pt-BR" sz="1500" b="0" dirty="0" err="1"/>
              <a:t>analysis</a:t>
            </a:r>
            <a:r>
              <a:rPr lang="pt-BR" sz="1500" b="0" dirty="0"/>
              <a:t> </a:t>
            </a:r>
            <a:r>
              <a:rPr lang="pt-BR" sz="1500" b="0" dirty="0" err="1"/>
              <a:t>of</a:t>
            </a:r>
            <a:r>
              <a:rPr lang="pt-BR" sz="1500" b="0" dirty="0"/>
              <a:t> </a:t>
            </a:r>
            <a:r>
              <a:rPr lang="pt-BR" sz="1500" b="0" dirty="0" err="1"/>
              <a:t>different</a:t>
            </a:r>
            <a:r>
              <a:rPr lang="pt-BR" sz="1500" b="0" dirty="0"/>
              <a:t> </a:t>
            </a:r>
            <a:r>
              <a:rPr lang="pt-BR" sz="1500" b="0" dirty="0" err="1"/>
              <a:t>scenarios</a:t>
            </a:r>
            <a:r>
              <a:rPr lang="pt-BR" sz="1500" b="0" dirty="0"/>
              <a:t> </a:t>
            </a:r>
            <a:r>
              <a:rPr lang="pt-BR" sz="1500" b="0" dirty="0" err="1"/>
              <a:t>through</a:t>
            </a:r>
            <a:r>
              <a:rPr lang="pt-BR" sz="1500" b="0" dirty="0"/>
              <a:t> </a:t>
            </a:r>
            <a:r>
              <a:rPr lang="pt-BR" sz="1500" b="0" dirty="0" err="1"/>
              <a:t>simple</a:t>
            </a:r>
            <a:r>
              <a:rPr lang="pt-BR" sz="1500" b="0" dirty="0"/>
              <a:t> linear </a:t>
            </a:r>
            <a:r>
              <a:rPr lang="pt-BR" sz="1500" b="0" dirty="0" err="1"/>
              <a:t>regressions</a:t>
            </a:r>
            <a:endParaRPr lang="pt-BR" sz="1500" b="0" dirty="0"/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75FF3575-4A07-6A4B-89E7-A6BC49DBCBEC}"/>
              </a:ext>
            </a:extLst>
          </p:cNvPr>
          <p:cNvSpPr/>
          <p:nvPr/>
        </p:nvSpPr>
        <p:spPr>
          <a:xfrm>
            <a:off x="737999" y="2248060"/>
            <a:ext cx="8535990" cy="355201"/>
          </a:xfrm>
          <a:prstGeom prst="rect">
            <a:avLst/>
          </a:prstGeom>
          <a:solidFill>
            <a:schemeClr val="accent4">
              <a:lumMod val="2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1800" dirty="0" err="1">
                <a:solidFill>
                  <a:schemeClr val="bg1"/>
                </a:solidFill>
                <a:sym typeface="+mn-lt"/>
              </a:rPr>
              <a:t>Step</a:t>
            </a:r>
            <a:r>
              <a:rPr lang="pt-BR" sz="1800" dirty="0">
                <a:solidFill>
                  <a:schemeClr val="bg1"/>
                </a:solidFill>
                <a:sym typeface="+mn-lt"/>
              </a:rPr>
              <a:t> 3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–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Cleaning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and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joining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data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and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analysing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the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correlation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between</a:t>
            </a:r>
            <a:r>
              <a:rPr lang="pt-BR" sz="1800" b="0" dirty="0">
                <a:solidFill>
                  <a:schemeClr val="bg1"/>
                </a:solidFill>
                <a:sym typeface="+mn-lt"/>
              </a:rPr>
              <a:t> </a:t>
            </a:r>
            <a:r>
              <a:rPr lang="pt-BR" sz="1800" b="0" dirty="0" err="1">
                <a:solidFill>
                  <a:schemeClr val="bg1"/>
                </a:solidFill>
                <a:sym typeface="+mn-lt"/>
              </a:rPr>
              <a:t>variables</a:t>
            </a:r>
            <a:endParaRPr lang="pt-BR" sz="1800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537F03C-627E-654B-9257-DBF34DF8589D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DB4FF27B-B7FE-5648-A33A-3F47845EC2F0}"/>
              </a:ext>
            </a:extLst>
          </p:cNvPr>
          <p:cNvSpPr txBox="1">
            <a:spLocks/>
          </p:cNvSpPr>
          <p:nvPr/>
        </p:nvSpPr>
        <p:spPr>
          <a:xfrm>
            <a:off x="646428" y="296880"/>
            <a:ext cx="4346269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Methodology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pic>
        <p:nvPicPr>
          <p:cNvPr id="22" name="Imagem 21">
            <a:extLst>
              <a:ext uri="{FF2B5EF4-FFF2-40B4-BE49-F238E27FC236}">
                <a16:creationId xmlns:a16="http://schemas.microsoft.com/office/drawing/2014/main" id="{B8376BC7-6F85-D244-964B-270549EC6D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3766" y="2951508"/>
            <a:ext cx="570866" cy="666010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42215FF8-049B-6B43-BE2A-AFF440B937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774" y="2942850"/>
            <a:ext cx="570866" cy="666010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FC2CAC4F-C39C-1041-BC17-DFADCF5077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774" y="4048328"/>
            <a:ext cx="570866" cy="666010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1E398A0A-DE3C-A147-8532-2A9DEC8CA3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774" y="5239999"/>
            <a:ext cx="570866" cy="666010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980F2FCF-CD34-304A-BB90-EB459C1E764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1" b="50000"/>
          <a:stretch/>
        </p:blipFill>
        <p:spPr>
          <a:xfrm>
            <a:off x="2283407" y="3626473"/>
            <a:ext cx="1422400" cy="268276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FEDE9CDF-9B1A-CA4D-85F6-B8CA278129F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b="26949"/>
          <a:stretch/>
        </p:blipFill>
        <p:spPr>
          <a:xfrm>
            <a:off x="861007" y="3650252"/>
            <a:ext cx="1422400" cy="231266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41C1CD9A-C3B7-3A44-BAC0-D9D150B067C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098"/>
          <a:stretch/>
        </p:blipFill>
        <p:spPr>
          <a:xfrm>
            <a:off x="861007" y="4770603"/>
            <a:ext cx="1422400" cy="249841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id="{7687DA4A-0344-544B-ACB5-443F42BF643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575"/>
          <a:stretch/>
        </p:blipFill>
        <p:spPr>
          <a:xfrm>
            <a:off x="861007" y="5962437"/>
            <a:ext cx="1422400" cy="255085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32AEFDDE-4E49-584A-8990-3C89DA1FE4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3766" y="4056986"/>
            <a:ext cx="570866" cy="666010"/>
          </a:xfrm>
          <a:prstGeom prst="rect">
            <a:avLst/>
          </a:prstGeom>
        </p:spPr>
      </p:pic>
      <p:pic>
        <p:nvPicPr>
          <p:cNvPr id="31" name="Imagem 30">
            <a:extLst>
              <a:ext uri="{FF2B5EF4-FFF2-40B4-BE49-F238E27FC236}">
                <a16:creationId xmlns:a16="http://schemas.microsoft.com/office/drawing/2014/main" id="{EF247393-71B0-3D4E-8056-9AA85333CC5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1" b="50000"/>
          <a:stretch/>
        </p:blipFill>
        <p:spPr>
          <a:xfrm>
            <a:off x="2283407" y="4731951"/>
            <a:ext cx="1422400" cy="268276"/>
          </a:xfrm>
          <a:prstGeom prst="rect">
            <a:avLst/>
          </a:prstGeom>
        </p:spPr>
      </p:pic>
      <p:pic>
        <p:nvPicPr>
          <p:cNvPr id="32" name="Imagem 31">
            <a:extLst>
              <a:ext uri="{FF2B5EF4-FFF2-40B4-BE49-F238E27FC236}">
                <a16:creationId xmlns:a16="http://schemas.microsoft.com/office/drawing/2014/main" id="{38408ED9-DE46-9A40-A015-CE22BD2E36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3766" y="5254473"/>
            <a:ext cx="570866" cy="666010"/>
          </a:xfrm>
          <a:prstGeom prst="rect">
            <a:avLst/>
          </a:prstGeom>
        </p:spPr>
      </p:pic>
      <p:pic>
        <p:nvPicPr>
          <p:cNvPr id="33" name="Imagem 32">
            <a:extLst>
              <a:ext uri="{FF2B5EF4-FFF2-40B4-BE49-F238E27FC236}">
                <a16:creationId xmlns:a16="http://schemas.microsoft.com/office/drawing/2014/main" id="{274F809B-AAEA-5844-86B1-C83AA57CB93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1" b="50000"/>
          <a:stretch/>
        </p:blipFill>
        <p:spPr>
          <a:xfrm>
            <a:off x="2283407" y="5929438"/>
            <a:ext cx="1422400" cy="268276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F685B877-05DF-3948-8838-838F5A9B687D}"/>
              </a:ext>
            </a:extLst>
          </p:cNvPr>
          <p:cNvSpPr/>
          <p:nvPr/>
        </p:nvSpPr>
        <p:spPr>
          <a:xfrm>
            <a:off x="1962298" y="2789271"/>
            <a:ext cx="5164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5400" b="0" cap="none" spc="0" dirty="0">
                <a:ln w="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accent3">
                    <a:lumMod val="90000"/>
                    <a:lumOff val="1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+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328748D0-DC63-D146-99AC-C603DC423A75}"/>
              </a:ext>
            </a:extLst>
          </p:cNvPr>
          <p:cNvSpPr/>
          <p:nvPr/>
        </p:nvSpPr>
        <p:spPr>
          <a:xfrm>
            <a:off x="1962298" y="3919668"/>
            <a:ext cx="5164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5400" b="0" cap="none" spc="0" dirty="0">
                <a:ln w="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accent3">
                    <a:lumMod val="90000"/>
                    <a:lumOff val="1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+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42B47F80-C193-8D48-A65A-15E46F03BF60}"/>
              </a:ext>
            </a:extLst>
          </p:cNvPr>
          <p:cNvSpPr/>
          <p:nvPr/>
        </p:nvSpPr>
        <p:spPr>
          <a:xfrm>
            <a:off x="1962298" y="5103997"/>
            <a:ext cx="5164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5400" b="0" cap="none" spc="0" dirty="0">
                <a:ln w="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accent3">
                    <a:lumMod val="90000"/>
                    <a:lumOff val="1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+</a:t>
            </a:r>
          </a:p>
        </p:txBody>
      </p:sp>
      <p:pic>
        <p:nvPicPr>
          <p:cNvPr id="36" name="Imagem 35">
            <a:extLst>
              <a:ext uri="{FF2B5EF4-FFF2-40B4-BE49-F238E27FC236}">
                <a16:creationId xmlns:a16="http://schemas.microsoft.com/office/drawing/2014/main" id="{C3C6B321-960D-904F-BE70-A66703739C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970" y="3447955"/>
            <a:ext cx="4992697" cy="2655541"/>
          </a:xfrm>
          <a:prstGeom prst="rect">
            <a:avLst/>
          </a:prstGeom>
        </p:spPr>
      </p:pic>
      <p:sp>
        <p:nvSpPr>
          <p:cNvPr id="38" name="Retângulo 37">
            <a:extLst>
              <a:ext uri="{FF2B5EF4-FFF2-40B4-BE49-F238E27FC236}">
                <a16:creationId xmlns:a16="http://schemas.microsoft.com/office/drawing/2014/main" id="{B8B24C80-AC10-C04E-91B9-1DC53E8EACBD}"/>
              </a:ext>
            </a:extLst>
          </p:cNvPr>
          <p:cNvSpPr/>
          <p:nvPr/>
        </p:nvSpPr>
        <p:spPr>
          <a:xfrm>
            <a:off x="4053205" y="6272842"/>
            <a:ext cx="5220783" cy="28035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pt-BR" sz="1100" b="0" dirty="0">
                <a:hlinkClick r:id="rId10"/>
              </a:rPr>
              <a:t>https://heloisadutcosky.shinyapps.io/crypto/</a:t>
            </a:r>
            <a:endParaRPr lang="pt-BR" sz="1100" b="0" dirty="0"/>
          </a:p>
          <a:p>
            <a:pPr>
              <a:lnSpc>
                <a:spcPct val="90000"/>
              </a:lnSpc>
              <a:spcBef>
                <a:spcPts val="400"/>
              </a:spcBef>
            </a:pPr>
            <a:endParaRPr lang="pt-BR" sz="1100" b="0" dirty="0"/>
          </a:p>
          <a:p>
            <a:pPr>
              <a:lnSpc>
                <a:spcPct val="90000"/>
              </a:lnSpc>
              <a:spcBef>
                <a:spcPts val="400"/>
              </a:spcBef>
            </a:pPr>
            <a:endParaRPr lang="pt-BR" sz="1100" b="0" dirty="0"/>
          </a:p>
        </p:txBody>
      </p:sp>
    </p:spTree>
    <p:extLst>
      <p:ext uri="{BB962C8B-B14F-4D97-AF65-F5344CB8AC3E}">
        <p14:creationId xmlns:p14="http://schemas.microsoft.com/office/powerpoint/2010/main" val="1077172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0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8" y="720012"/>
            <a:ext cx="8753315" cy="747897"/>
          </a:xfrm>
        </p:spPr>
        <p:txBody>
          <a:bodyPr/>
          <a:lstStyle/>
          <a:p>
            <a:r>
              <a:rPr lang="pt-BR" dirty="0"/>
              <a:t>The </a:t>
            </a:r>
            <a:r>
              <a:rPr lang="pt-BR" dirty="0" err="1"/>
              <a:t>cryptocurrency</a:t>
            </a:r>
            <a:r>
              <a:rPr lang="pt-BR" dirty="0"/>
              <a:t> </a:t>
            </a:r>
            <a:r>
              <a:rPr lang="pt-BR" dirty="0" err="1"/>
              <a:t>market</a:t>
            </a:r>
            <a:r>
              <a:rPr lang="pt-BR" dirty="0"/>
              <a:t> </a:t>
            </a:r>
            <a:r>
              <a:rPr lang="pt-BR" dirty="0" err="1"/>
              <a:t>is</a:t>
            </a:r>
            <a:r>
              <a:rPr lang="pt-BR" dirty="0"/>
              <a:t> </a:t>
            </a:r>
            <a:r>
              <a:rPr lang="pt-BR" dirty="0" err="1"/>
              <a:t>not</a:t>
            </a:r>
            <a:r>
              <a:rPr lang="pt-BR" dirty="0"/>
              <a:t> </a:t>
            </a:r>
            <a:r>
              <a:rPr lang="pt-BR" dirty="0" err="1"/>
              <a:t>influenced</a:t>
            </a:r>
            <a:r>
              <a:rPr lang="pt-BR" dirty="0"/>
              <a:t> </a:t>
            </a:r>
            <a:r>
              <a:rPr lang="pt-BR" dirty="0" err="1"/>
              <a:t>by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stocks </a:t>
            </a:r>
            <a:r>
              <a:rPr lang="pt-BR" dirty="0" err="1"/>
              <a:t>market</a:t>
            </a:r>
            <a:r>
              <a:rPr lang="pt-BR" dirty="0"/>
              <a:t>. Dow Jones </a:t>
            </a:r>
            <a:r>
              <a:rPr lang="pt-BR" dirty="0" err="1"/>
              <a:t>movements</a:t>
            </a:r>
            <a:r>
              <a:rPr lang="pt-BR" dirty="0"/>
              <a:t> show no </a:t>
            </a:r>
            <a:r>
              <a:rPr lang="pt-BR" dirty="0" err="1"/>
              <a:t>correlation</a:t>
            </a:r>
            <a:r>
              <a:rPr lang="pt-BR" dirty="0"/>
              <a:t> </a:t>
            </a:r>
            <a:r>
              <a:rPr lang="pt-BR" dirty="0" err="1"/>
              <a:t>with</a:t>
            </a:r>
            <a:r>
              <a:rPr lang="pt-BR" dirty="0"/>
              <a:t> </a:t>
            </a:r>
            <a:r>
              <a:rPr lang="pt-BR" dirty="0" err="1"/>
              <a:t>Bitcoin</a:t>
            </a:r>
            <a:r>
              <a:rPr lang="pt-BR" dirty="0"/>
              <a:t>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other</a:t>
            </a:r>
            <a:r>
              <a:rPr lang="pt-BR" dirty="0"/>
              <a:t> </a:t>
            </a:r>
            <a:r>
              <a:rPr lang="pt-BR" dirty="0" err="1"/>
              <a:t>coins</a:t>
            </a:r>
            <a:endParaRPr lang="pt-BR" dirty="0"/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Correlation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between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Dow Jones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and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cryptocurrencies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daily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movements</a:t>
            </a:r>
            <a:endParaRPr lang="pt-BR" sz="2100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537F03C-627E-654B-9257-DBF34DF8589D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DB4FF27B-B7FE-5648-A33A-3F47845EC2F0}"/>
              </a:ext>
            </a:extLst>
          </p:cNvPr>
          <p:cNvSpPr txBox="1">
            <a:spLocks/>
          </p:cNvSpPr>
          <p:nvPr/>
        </p:nvSpPr>
        <p:spPr>
          <a:xfrm>
            <a:off x="646428" y="296880"/>
            <a:ext cx="4346269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Results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F511384A-D454-7944-8996-3721C97022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428" y="2282166"/>
            <a:ext cx="6212409" cy="3418663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B2F2375A-3C05-0946-A7C9-F86FD91A5A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386" y="2347167"/>
            <a:ext cx="2733236" cy="935894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90AACBE5-2270-E14C-AA65-B2C2CE15D20E}"/>
              </a:ext>
            </a:extLst>
          </p:cNvPr>
          <p:cNvSpPr/>
          <p:nvPr/>
        </p:nvSpPr>
        <p:spPr>
          <a:xfrm>
            <a:off x="7188150" y="5172850"/>
            <a:ext cx="2303173" cy="83764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dirty="0"/>
              <a:t>Dow Jones</a:t>
            </a:r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100" b="0" dirty="0"/>
              <a:t>US Stock Market Index – 30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most</a:t>
            </a:r>
            <a:r>
              <a:rPr lang="pt-BR" sz="1100" b="0" dirty="0"/>
              <a:t> </a:t>
            </a:r>
            <a:r>
              <a:rPr lang="pt-BR" sz="1100" b="0" dirty="0" err="1"/>
              <a:t>important</a:t>
            </a:r>
            <a:r>
              <a:rPr lang="pt-BR" sz="1100" b="0" dirty="0"/>
              <a:t> industrial stocks</a:t>
            </a:r>
          </a:p>
        </p:txBody>
      </p:sp>
    </p:spTree>
    <p:extLst>
      <p:ext uri="{BB962C8B-B14F-4D97-AF65-F5344CB8AC3E}">
        <p14:creationId xmlns:p14="http://schemas.microsoft.com/office/powerpoint/2010/main" val="12445872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0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8" y="720012"/>
            <a:ext cx="8753315" cy="747897"/>
          </a:xfrm>
        </p:spPr>
        <p:txBody>
          <a:bodyPr/>
          <a:lstStyle/>
          <a:p>
            <a:r>
              <a:rPr lang="pt-BR" dirty="0" err="1"/>
              <a:t>Nevertheless</a:t>
            </a:r>
            <a:r>
              <a:rPr lang="pt-BR" dirty="0"/>
              <a:t>, </a:t>
            </a:r>
            <a:r>
              <a:rPr lang="pt-BR" dirty="0" err="1"/>
              <a:t>most</a:t>
            </a:r>
            <a:r>
              <a:rPr lang="pt-BR" dirty="0"/>
              <a:t> </a:t>
            </a:r>
            <a:r>
              <a:rPr lang="pt-BR" dirty="0" err="1"/>
              <a:t>coins</a:t>
            </a:r>
            <a:r>
              <a:rPr lang="pt-BR" dirty="0"/>
              <a:t> </a:t>
            </a:r>
            <a:r>
              <a:rPr lang="pt-BR" dirty="0" err="1"/>
              <a:t>seem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follow</a:t>
            </a:r>
            <a:r>
              <a:rPr lang="pt-BR" dirty="0"/>
              <a:t> </a:t>
            </a:r>
            <a:r>
              <a:rPr lang="pt-BR" dirty="0" err="1"/>
              <a:t>Bitcoins</a:t>
            </a:r>
            <a:r>
              <a:rPr lang="pt-BR" dirty="0"/>
              <a:t> Market </a:t>
            </a:r>
            <a:r>
              <a:rPr lang="pt-BR" dirty="0" err="1"/>
              <a:t>movements</a:t>
            </a:r>
            <a:r>
              <a:rPr lang="pt-BR" dirty="0"/>
              <a:t>, </a:t>
            </a:r>
            <a:r>
              <a:rPr lang="pt-BR" dirty="0" err="1"/>
              <a:t>having</a:t>
            </a:r>
            <a:r>
              <a:rPr lang="pt-BR" dirty="0"/>
              <a:t> high </a:t>
            </a:r>
            <a:r>
              <a:rPr lang="pt-BR" dirty="0" err="1"/>
              <a:t>correlations</a:t>
            </a:r>
            <a:r>
              <a:rPr lang="pt-BR" dirty="0"/>
              <a:t> </a:t>
            </a:r>
            <a:r>
              <a:rPr lang="pt-BR" dirty="0" err="1"/>
              <a:t>on</a:t>
            </a:r>
            <a:r>
              <a:rPr lang="pt-BR" dirty="0"/>
              <a:t> </a:t>
            </a:r>
            <a:r>
              <a:rPr lang="pt-BR" dirty="0" err="1"/>
              <a:t>daily</a:t>
            </a:r>
            <a:r>
              <a:rPr lang="pt-BR" dirty="0"/>
              <a:t> </a:t>
            </a:r>
            <a:r>
              <a:rPr lang="pt-BR" dirty="0" err="1"/>
              <a:t>movements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</a:t>
            </a:r>
            <a:r>
              <a:rPr lang="pt-BR" dirty="0" err="1"/>
              <a:t>volatility</a:t>
            </a:r>
            <a:endParaRPr lang="pt-BR" dirty="0"/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 err="1">
                <a:solidFill>
                  <a:schemeClr val="tx2"/>
                </a:solidFill>
                <a:sym typeface="+mn-lt"/>
              </a:rPr>
              <a:t>Correlation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between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cryptocurrencies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groups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daily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movements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and</a:t>
            </a:r>
            <a:r>
              <a:rPr lang="pt-BR" sz="2100" b="0" dirty="0">
                <a:solidFill>
                  <a:schemeClr val="tx2"/>
                </a:solidFill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sym typeface="+mn-lt"/>
              </a:rPr>
              <a:t>volatility</a:t>
            </a:r>
            <a:endParaRPr lang="pt-BR" sz="2100" b="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5E4C16CC-E895-9F4D-AC6C-63EBC831B02D}"/>
              </a:ext>
            </a:extLst>
          </p:cNvPr>
          <p:cNvSpPr/>
          <p:nvPr/>
        </p:nvSpPr>
        <p:spPr>
          <a:xfrm>
            <a:off x="738000" y="2235757"/>
            <a:ext cx="2665599" cy="723344"/>
          </a:xfrm>
          <a:prstGeom prst="rect">
            <a:avLst/>
          </a:prstGeom>
          <a:solidFill>
            <a:srgbClr val="F2B9B3"/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dirty="0" err="1"/>
              <a:t>Bitcoin</a:t>
            </a:r>
            <a:endParaRPr lang="pt-BR" sz="150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100" b="0" dirty="0"/>
              <a:t>Includes </a:t>
            </a:r>
            <a:r>
              <a:rPr lang="pt-BR" sz="1100" b="0" dirty="0" err="1"/>
              <a:t>only</a:t>
            </a:r>
            <a:r>
              <a:rPr lang="pt-BR" sz="1100" b="0" dirty="0"/>
              <a:t> </a:t>
            </a:r>
            <a:r>
              <a:rPr lang="pt-BR" sz="1100" b="0" dirty="0" err="1"/>
              <a:t>Bitcoin</a:t>
            </a:r>
            <a:r>
              <a:rPr lang="pt-BR" sz="1100" b="0" dirty="0"/>
              <a:t>, </a:t>
            </a:r>
            <a:r>
              <a:rPr lang="pt-BR" sz="1100" b="0" dirty="0" err="1"/>
              <a:t>which</a:t>
            </a:r>
            <a:r>
              <a:rPr lang="pt-BR" sz="1100" b="0" dirty="0"/>
              <a:t> </a:t>
            </a:r>
            <a:r>
              <a:rPr lang="pt-BR" sz="1100" b="0" dirty="0" err="1"/>
              <a:t>represents</a:t>
            </a:r>
            <a:r>
              <a:rPr lang="pt-BR" sz="1100" b="0" dirty="0"/>
              <a:t> ~90%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total Market </a:t>
            </a:r>
            <a:r>
              <a:rPr lang="pt-BR" sz="1100" b="0" dirty="0" err="1"/>
              <a:t>cap</a:t>
            </a:r>
            <a:r>
              <a:rPr lang="pt-BR" sz="1100" b="0" dirty="0"/>
              <a:t> </a:t>
            </a:r>
            <a:r>
              <a:rPr lang="pt-BR" sz="1100" b="0" dirty="0" err="1"/>
              <a:t>on</a:t>
            </a:r>
            <a:r>
              <a:rPr lang="pt-BR" sz="1100" b="0" dirty="0"/>
              <a:t> </a:t>
            </a:r>
            <a:r>
              <a:rPr lang="pt-BR" sz="1100" b="0" dirty="0" err="1"/>
              <a:t>crypto</a:t>
            </a:r>
            <a:r>
              <a:rPr lang="pt-BR" sz="1100" b="0" dirty="0"/>
              <a:t> </a:t>
            </a:r>
            <a:r>
              <a:rPr lang="pt-BR" sz="1100" b="0" dirty="0" err="1"/>
              <a:t>currency</a:t>
            </a:r>
            <a:endParaRPr lang="pt-BR" sz="1100" b="0" dirty="0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537F03C-627E-654B-9257-DBF34DF8589D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DB4FF27B-B7FE-5648-A33A-3F47845EC2F0}"/>
              </a:ext>
            </a:extLst>
          </p:cNvPr>
          <p:cNvSpPr txBox="1">
            <a:spLocks/>
          </p:cNvSpPr>
          <p:nvPr/>
        </p:nvSpPr>
        <p:spPr>
          <a:xfrm>
            <a:off x="646428" y="296880"/>
            <a:ext cx="4346269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Results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CAD3363C-9F01-5E4F-A933-EE87E301BAED}"/>
              </a:ext>
            </a:extLst>
          </p:cNvPr>
          <p:cNvSpPr/>
          <p:nvPr/>
        </p:nvSpPr>
        <p:spPr>
          <a:xfrm>
            <a:off x="3673194" y="2235757"/>
            <a:ext cx="2665599" cy="723344"/>
          </a:xfrm>
          <a:prstGeom prst="rect">
            <a:avLst/>
          </a:prstGeom>
          <a:solidFill>
            <a:srgbClr val="ADCEFF"/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dirty="0"/>
              <a:t>Top 10 </a:t>
            </a:r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100" b="0" dirty="0"/>
              <a:t>Includes </a:t>
            </a:r>
            <a:r>
              <a:rPr lang="pt-BR" sz="1100" b="0" dirty="0" err="1"/>
              <a:t>the</a:t>
            </a:r>
            <a:r>
              <a:rPr lang="pt-BR" sz="1100" b="0" dirty="0"/>
              <a:t> 10 </a:t>
            </a:r>
            <a:r>
              <a:rPr lang="pt-BR" sz="1100" b="0" dirty="0" err="1"/>
              <a:t>coins</a:t>
            </a:r>
            <a:r>
              <a:rPr lang="pt-BR" sz="1100" b="0" dirty="0"/>
              <a:t> </a:t>
            </a:r>
            <a:r>
              <a:rPr lang="pt-BR" sz="1100" b="0" dirty="0" err="1"/>
              <a:t>with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following</a:t>
            </a:r>
            <a:r>
              <a:rPr lang="pt-BR" sz="1100" b="0" dirty="0"/>
              <a:t> </a:t>
            </a:r>
            <a:r>
              <a:rPr lang="pt-BR" sz="1100" b="0" dirty="0" err="1"/>
              <a:t>biggest</a:t>
            </a:r>
            <a:r>
              <a:rPr lang="pt-BR" sz="1100" b="0" dirty="0"/>
              <a:t> Market </a:t>
            </a:r>
            <a:r>
              <a:rPr lang="pt-BR" sz="1100" b="0" dirty="0" err="1"/>
              <a:t>caps</a:t>
            </a:r>
            <a:r>
              <a:rPr lang="pt-BR" sz="1100" b="0" dirty="0"/>
              <a:t>, </a:t>
            </a:r>
            <a:r>
              <a:rPr lang="pt-BR" sz="1100" b="0" dirty="0" err="1"/>
              <a:t>they</a:t>
            </a:r>
            <a:r>
              <a:rPr lang="pt-BR" sz="1100" b="0" dirty="0"/>
              <a:t> sum </a:t>
            </a:r>
            <a:r>
              <a:rPr lang="pt-BR" sz="1100" b="0" dirty="0" err="1"/>
              <a:t>up</a:t>
            </a:r>
            <a:r>
              <a:rPr lang="pt-BR" sz="1100" b="0" dirty="0"/>
              <a:t> </a:t>
            </a:r>
            <a:r>
              <a:rPr lang="pt-BR" sz="1100" b="0" dirty="0" err="1"/>
              <a:t>to</a:t>
            </a:r>
            <a:r>
              <a:rPr lang="pt-BR" sz="1100" b="0" dirty="0"/>
              <a:t> </a:t>
            </a:r>
            <a:r>
              <a:rPr lang="pt-BR" sz="1100" b="0" dirty="0" err="1"/>
              <a:t>x</a:t>
            </a:r>
            <a:r>
              <a:rPr lang="pt-BR" sz="1100" b="0" dirty="0"/>
              <a:t> Market </a:t>
            </a:r>
            <a:r>
              <a:rPr lang="pt-BR" sz="1100" b="0" dirty="0" err="1"/>
              <a:t>cap</a:t>
            </a:r>
            <a:r>
              <a:rPr lang="pt-BR" sz="1100" b="0" dirty="0"/>
              <a:t> 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66D7D835-55E7-254F-968F-EC407A7B2E68}"/>
              </a:ext>
            </a:extLst>
          </p:cNvPr>
          <p:cNvSpPr/>
          <p:nvPr/>
        </p:nvSpPr>
        <p:spPr>
          <a:xfrm>
            <a:off x="6608390" y="2235757"/>
            <a:ext cx="2665599" cy="723344"/>
          </a:xfrm>
          <a:prstGeom prst="rect">
            <a:avLst/>
          </a:prstGeom>
          <a:solidFill>
            <a:srgbClr val="D3F2CF"/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500" dirty="0" err="1"/>
              <a:t>Small</a:t>
            </a:r>
            <a:r>
              <a:rPr lang="pt-BR" sz="1500" dirty="0"/>
              <a:t> </a:t>
            </a:r>
            <a:r>
              <a:rPr lang="pt-BR" sz="1500" dirty="0" err="1"/>
              <a:t>coins</a:t>
            </a:r>
            <a:endParaRPr lang="pt-BR" sz="1500" dirty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pt-BR" sz="1100" b="0" dirty="0" err="1"/>
              <a:t>All</a:t>
            </a:r>
            <a:r>
              <a:rPr lang="pt-BR" sz="1100" b="0" dirty="0"/>
              <a:t> </a:t>
            </a:r>
            <a:r>
              <a:rPr lang="pt-BR" sz="1100" b="0" dirty="0" err="1"/>
              <a:t>of</a:t>
            </a:r>
            <a:r>
              <a:rPr lang="pt-BR" sz="1100" b="0" dirty="0"/>
              <a:t> </a:t>
            </a:r>
            <a:r>
              <a:rPr lang="pt-BR" sz="1100" b="0" dirty="0" err="1"/>
              <a:t>the</a:t>
            </a:r>
            <a:r>
              <a:rPr lang="pt-BR" sz="1100" b="0" dirty="0"/>
              <a:t> </a:t>
            </a:r>
            <a:r>
              <a:rPr lang="pt-BR" sz="1100" b="0" dirty="0" err="1"/>
              <a:t>other</a:t>
            </a:r>
            <a:r>
              <a:rPr lang="pt-BR" sz="1100" b="0" dirty="0"/>
              <a:t> </a:t>
            </a:r>
            <a:r>
              <a:rPr lang="pt-BR" sz="1100" b="0" dirty="0" err="1"/>
              <a:t>coins</a:t>
            </a:r>
            <a:r>
              <a:rPr lang="pt-BR" sz="1100" b="0" dirty="0"/>
              <a:t> </a:t>
            </a:r>
            <a:r>
              <a:rPr lang="pt-BR" sz="1100" b="0" dirty="0" err="1"/>
              <a:t>with</a:t>
            </a:r>
            <a:r>
              <a:rPr lang="pt-BR" sz="1100" b="0" dirty="0"/>
              <a:t> </a:t>
            </a:r>
            <a:r>
              <a:rPr lang="pt-BR" sz="1100" b="0" dirty="0" err="1"/>
              <a:t>information</a:t>
            </a:r>
            <a:r>
              <a:rPr lang="pt-BR" sz="1100" b="0" dirty="0"/>
              <a:t> </a:t>
            </a:r>
            <a:r>
              <a:rPr lang="pt-BR" sz="1100" b="0" dirty="0" err="1"/>
              <a:t>available</a:t>
            </a:r>
            <a:r>
              <a:rPr lang="pt-BR" sz="1100" b="0" dirty="0"/>
              <a:t> </a:t>
            </a:r>
            <a:r>
              <a:rPr lang="pt-BR" sz="1100" b="0" dirty="0" err="1"/>
              <a:t>on</a:t>
            </a:r>
            <a:r>
              <a:rPr lang="pt-BR" sz="1100" b="0" dirty="0"/>
              <a:t> </a:t>
            </a:r>
            <a:r>
              <a:rPr lang="pt-BR" sz="1100" b="0" dirty="0" err="1"/>
              <a:t>CoinMarketCap</a:t>
            </a:r>
            <a:r>
              <a:rPr lang="pt-BR" sz="1100" b="0" dirty="0"/>
              <a:t> (</a:t>
            </a:r>
            <a:r>
              <a:rPr lang="pt-BR" sz="1100" b="0" dirty="0" err="1"/>
              <a:t>around</a:t>
            </a:r>
            <a:r>
              <a:rPr lang="pt-BR" sz="1100" b="0" dirty="0"/>
              <a:t> 2000 </a:t>
            </a:r>
            <a:r>
              <a:rPr lang="pt-BR" sz="1100" b="0" dirty="0" err="1"/>
              <a:t>coins</a:t>
            </a:r>
            <a:r>
              <a:rPr lang="pt-BR" sz="1100" b="0" dirty="0"/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6DC0A4E6-7196-F34D-B9D0-584C1ACEA1FF}"/>
                  </a:ext>
                </a:extLst>
              </p:cNvPr>
              <p:cNvSpPr txBox="1"/>
              <p:nvPr/>
            </p:nvSpPr>
            <p:spPr>
              <a:xfrm>
                <a:off x="738000" y="3220044"/>
                <a:ext cx="4061176" cy="429477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non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500" b="0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𝐷𝑎𝑖𝑙𝑦</m:t>
                      </m:r>
                      <m:r>
                        <a:rPr lang="en-US" sz="1500" b="0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 </m:t>
                      </m:r>
                      <m:r>
                        <a:rPr lang="en-US" sz="1500" b="0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𝑚𝑜𝑣𝑒𝑚𝑒𝑛𝑡𝑠</m:t>
                      </m:r>
                      <m:r>
                        <a:rPr lang="en-US" sz="1500" b="0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= </m:t>
                      </m:r>
                      <m:f>
                        <m:fPr>
                          <m:ctrlP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</m:ctrlPr>
                        </m:fPr>
                        <m:num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𝑂𝑝𝑒𝑛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 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𝑣𝑎𝑙𝑢𝑒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 −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𝐶𝑙𝑜𝑠𝑒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 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𝑣𝑎𝑙𝑢𝑒</m:t>
                          </m:r>
                        </m:num>
                        <m:den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𝑂𝑝𝑒𝑛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 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𝑣𝑎𝑙𝑢𝑒</m:t>
                          </m:r>
                        </m:den>
                      </m:f>
                    </m:oMath>
                  </m:oMathPara>
                </a14:m>
                <a:endParaRPr lang="pt-BR" sz="1500" b="0" noProof="0" dirty="0">
                  <a:latin typeface="+mn-lt"/>
                  <a:cs typeface="Arial Narrow" pitchFamily="34" charset="0"/>
                </a:endParaRPr>
              </a:p>
            </p:txBody>
          </p:sp>
        </mc:Choice>
        <mc:Fallback xmlns="">
          <p:sp>
            <p:nvSpPr>
              <p:cNvPr id="3" name="CaixaDeTexto 2">
                <a:extLst>
                  <a:ext uri="{FF2B5EF4-FFF2-40B4-BE49-F238E27FC236}">
                    <a16:creationId xmlns:a16="http://schemas.microsoft.com/office/drawing/2014/main" id="{6DC0A4E6-7196-F34D-B9D0-584C1ACEA1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8000" y="3220044"/>
                <a:ext cx="4061176" cy="429477"/>
              </a:xfrm>
              <a:prstGeom prst="rect">
                <a:avLst/>
              </a:prstGeom>
              <a:blipFill>
                <a:blip r:embed="rId7"/>
                <a:stretch>
                  <a:fillRect l="-1869" t="-17647" b="-23529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aixaDeTexto 23">
                <a:extLst>
                  <a:ext uri="{FF2B5EF4-FFF2-40B4-BE49-F238E27FC236}">
                    <a16:creationId xmlns:a16="http://schemas.microsoft.com/office/drawing/2014/main" id="{D7D1AD22-8231-3E40-A648-C86D22DE0135}"/>
                  </a:ext>
                </a:extLst>
              </p:cNvPr>
              <p:cNvSpPr txBox="1"/>
              <p:nvPr/>
            </p:nvSpPr>
            <p:spPr>
              <a:xfrm>
                <a:off x="5212813" y="3220044"/>
                <a:ext cx="4061176" cy="430887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500" b="0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𝑉𝑜𝑙𝑎𝑡𝑖𝑙𝑖𝑡𝑦</m:t>
                      </m:r>
                      <m:r>
                        <a:rPr lang="en-US" sz="1500" b="0" i="1" noProof="0" smtClean="0">
                          <a:latin typeface="Cambria Math" panose="02040503050406030204" pitchFamily="18" charset="0"/>
                          <a:cs typeface="Arial Narrow" pitchFamily="34" charset="0"/>
                        </a:rPr>
                        <m:t>= </m:t>
                      </m:r>
                      <m:f>
                        <m:fPr>
                          <m:ctrlP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</m:ctrlPr>
                        </m:fPr>
                        <m:num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𝐻𝑖𝑔h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 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𝑣𝑎𝑙𝑢𝑒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 −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𝐿𝑜𝑤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 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𝑣𝑎𝑙𝑢𝑒</m:t>
                          </m:r>
                        </m:num>
                        <m:den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𝐻𝑖𝑔h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 </m:t>
                          </m:r>
                          <m:r>
                            <a:rPr lang="en-US" sz="1500" b="0" i="1" noProof="0" smtClean="0">
                              <a:latin typeface="Cambria Math" panose="02040503050406030204" pitchFamily="18" charset="0"/>
                              <a:cs typeface="Arial Narrow" pitchFamily="34" charset="0"/>
                            </a:rPr>
                            <m:t>𝑣𝑎𝑙𝑢𝑒</m:t>
                          </m:r>
                        </m:den>
                      </m:f>
                    </m:oMath>
                  </m:oMathPara>
                </a14:m>
                <a:endParaRPr lang="pt-BR" sz="1500" b="0" noProof="0" dirty="0">
                  <a:latin typeface="+mn-lt"/>
                  <a:cs typeface="Arial Narrow" pitchFamily="34" charset="0"/>
                </a:endParaRPr>
              </a:p>
            </p:txBody>
          </p:sp>
        </mc:Choice>
        <mc:Fallback xmlns="">
          <p:sp>
            <p:nvSpPr>
              <p:cNvPr id="24" name="CaixaDeTexto 23">
                <a:extLst>
                  <a:ext uri="{FF2B5EF4-FFF2-40B4-BE49-F238E27FC236}">
                    <a16:creationId xmlns:a16="http://schemas.microsoft.com/office/drawing/2014/main" id="{D7D1AD22-8231-3E40-A648-C86D22DE0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2813" y="3220044"/>
                <a:ext cx="4061176" cy="430887"/>
              </a:xfrm>
              <a:prstGeom prst="rect">
                <a:avLst/>
              </a:prstGeom>
              <a:blipFill>
                <a:blip r:embed="rId8"/>
                <a:stretch>
                  <a:fillRect l="-1869" t="-17647" b="-23529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C7D6BB0D-EDDF-394A-B32B-DEE6CEADC289}"/>
              </a:ext>
            </a:extLst>
          </p:cNvPr>
          <p:cNvCxnSpPr>
            <a:cxnSpLocks/>
          </p:cNvCxnSpPr>
          <p:nvPr/>
        </p:nvCxnSpPr>
        <p:spPr>
          <a:xfrm flipH="1">
            <a:off x="4992697" y="3174999"/>
            <a:ext cx="13297" cy="3543301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m 24">
            <a:extLst>
              <a:ext uri="{FF2B5EF4-FFF2-40B4-BE49-F238E27FC236}">
                <a16:creationId xmlns:a16="http://schemas.microsoft.com/office/drawing/2014/main" id="{DFC9854F-F058-3240-813F-AD2336A9E1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5672" y="3789440"/>
            <a:ext cx="4435651" cy="2739982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4383326C-7703-254F-B43E-3E132E01A5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250" y="3775993"/>
            <a:ext cx="4515628" cy="2726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92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1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8" y="720012"/>
            <a:ext cx="8753315" cy="747897"/>
          </a:xfrm>
        </p:spPr>
        <p:txBody>
          <a:bodyPr/>
          <a:lstStyle/>
          <a:p>
            <a:r>
              <a:rPr lang="pt-BR" dirty="0" err="1"/>
              <a:t>Bitcoin’s</a:t>
            </a:r>
            <a:r>
              <a:rPr lang="pt-BR" dirty="0"/>
              <a:t> </a:t>
            </a:r>
            <a:r>
              <a:rPr lang="pt-BR" dirty="0" err="1"/>
              <a:t>daily</a:t>
            </a:r>
            <a:r>
              <a:rPr lang="pt-BR" dirty="0"/>
              <a:t> </a:t>
            </a:r>
            <a:r>
              <a:rPr lang="pt-BR" dirty="0" err="1"/>
              <a:t>price</a:t>
            </a:r>
            <a:r>
              <a:rPr lang="pt-BR" dirty="0"/>
              <a:t> </a:t>
            </a:r>
            <a:r>
              <a:rPr lang="pt-BR" dirty="0" err="1"/>
              <a:t>variations</a:t>
            </a:r>
            <a:r>
              <a:rPr lang="pt-BR" dirty="0"/>
              <a:t> are </a:t>
            </a:r>
            <a:r>
              <a:rPr lang="pt-BR" dirty="0" err="1"/>
              <a:t>slightly</a:t>
            </a:r>
            <a:r>
              <a:rPr lang="pt-BR" dirty="0"/>
              <a:t> </a:t>
            </a:r>
            <a:r>
              <a:rPr lang="pt-BR" dirty="0" err="1"/>
              <a:t>influenced</a:t>
            </a:r>
            <a:r>
              <a:rPr lang="pt-BR" dirty="0"/>
              <a:t> </a:t>
            </a:r>
            <a:r>
              <a:rPr lang="pt-BR" dirty="0" err="1"/>
              <a:t>by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news</a:t>
            </a:r>
            <a:r>
              <a:rPr lang="pt-BR" dirty="0"/>
              <a:t> </a:t>
            </a:r>
            <a:r>
              <a:rPr lang="pt-BR" dirty="0" err="1"/>
              <a:t>on</a:t>
            </a:r>
            <a:r>
              <a:rPr lang="pt-BR" dirty="0"/>
              <a:t> </a:t>
            </a:r>
            <a:r>
              <a:rPr lang="pt-BR" dirty="0" err="1"/>
              <a:t>Cointelegraph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posts </a:t>
            </a:r>
            <a:r>
              <a:rPr lang="pt-BR" dirty="0" err="1"/>
              <a:t>on</a:t>
            </a:r>
            <a:r>
              <a:rPr lang="pt-BR" dirty="0"/>
              <a:t> </a:t>
            </a:r>
            <a:r>
              <a:rPr lang="pt-BR" dirty="0" err="1"/>
              <a:t>Reddit</a:t>
            </a:r>
            <a:endParaRPr lang="pt-BR" dirty="0"/>
          </a:p>
        </p:txBody>
      </p:sp>
      <p:sp>
        <p:nvSpPr>
          <p:cNvPr id="48" name="Subtitle"/>
          <p:cNvSpPr txBox="1">
            <a:spLocks/>
          </p:cNvSpPr>
          <p:nvPr/>
        </p:nvSpPr>
        <p:spPr>
          <a:xfrm>
            <a:off x="738000" y="1710008"/>
            <a:ext cx="8535989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Correlation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between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bitcoin’s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volatility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and</a:t>
            </a:r>
            <a:r>
              <a:rPr lang="pt-BR" sz="2100" b="0" dirty="0">
                <a:solidFill>
                  <a:schemeClr val="tx2"/>
                </a:solidFill>
                <a:latin typeface="+mn-lt"/>
                <a:sym typeface="+mn-lt"/>
              </a:rPr>
              <a:t> its </a:t>
            </a:r>
            <a:r>
              <a:rPr lang="pt-BR" sz="2100" b="0" dirty="0" err="1">
                <a:solidFill>
                  <a:schemeClr val="tx2"/>
                </a:solidFill>
                <a:latin typeface="+mn-lt"/>
                <a:sym typeface="+mn-lt"/>
              </a:rPr>
              <a:t>news</a:t>
            </a:r>
            <a:endParaRPr lang="pt-BR" sz="2100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50" name="Source">
            <a:extLst>
              <a:ext uri="{FF2B5EF4-FFF2-40B4-BE49-F238E27FC236}">
                <a16:creationId xmlns:a16="http://schemas.microsoft.com/office/drawing/2014/main" id="{4C518A76-6A13-8F41-84C8-1C0EE74C3D30}"/>
              </a:ext>
            </a:extLst>
          </p:cNvPr>
          <p:cNvSpPr txBox="1"/>
          <p:nvPr/>
        </p:nvSpPr>
        <p:spPr>
          <a:xfrm>
            <a:off x="738200" y="6710122"/>
            <a:ext cx="1248740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pt-BR" sz="900" b="0" dirty="0" err="1">
                <a:latin typeface="+mn-lt"/>
                <a:sym typeface="+mn-lt"/>
              </a:rPr>
              <a:t>Source</a:t>
            </a:r>
            <a:r>
              <a:rPr lang="pt-BR" sz="900" b="0" dirty="0">
                <a:latin typeface="+mn-lt"/>
                <a:sym typeface="+mn-lt"/>
              </a:rPr>
              <a:t>: </a:t>
            </a:r>
            <a:r>
              <a:rPr lang="pt-BR" sz="900" b="0" dirty="0" err="1">
                <a:latin typeface="+mn-lt"/>
                <a:sym typeface="+mn-lt"/>
              </a:rPr>
              <a:t>Contelegraph</a:t>
            </a:r>
            <a:r>
              <a:rPr lang="pt-BR" sz="900" b="0" dirty="0">
                <a:latin typeface="+mn-lt"/>
                <a:sym typeface="+mn-lt"/>
              </a:rPr>
              <a:t>, </a:t>
            </a:r>
            <a:r>
              <a:rPr lang="pt-BR" sz="900" b="0" dirty="0" err="1">
                <a:latin typeface="+mn-lt"/>
                <a:sym typeface="+mn-lt"/>
              </a:rPr>
              <a:t>Reddit</a:t>
            </a:r>
            <a:endParaRPr lang="pt-BR" sz="900" b="0" dirty="0">
              <a:latin typeface="+mn-lt"/>
              <a:sym typeface="+mn-lt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537F03C-627E-654B-9257-DBF34DF8589D}"/>
              </a:ext>
            </a:extLst>
          </p:cNvPr>
          <p:cNvSpPr/>
          <p:nvPr/>
        </p:nvSpPr>
        <p:spPr>
          <a:xfrm>
            <a:off x="308756" y="249380"/>
            <a:ext cx="285008" cy="285008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1" name="Subtitle">
            <a:extLst>
              <a:ext uri="{FF2B5EF4-FFF2-40B4-BE49-F238E27FC236}">
                <a16:creationId xmlns:a16="http://schemas.microsoft.com/office/drawing/2014/main" id="{DB4FF27B-B7FE-5648-A33A-3F47845EC2F0}"/>
              </a:ext>
            </a:extLst>
          </p:cNvPr>
          <p:cNvSpPr txBox="1">
            <a:spLocks/>
          </p:cNvSpPr>
          <p:nvPr/>
        </p:nvSpPr>
        <p:spPr>
          <a:xfrm>
            <a:off x="646428" y="296880"/>
            <a:ext cx="4346269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pt-BR" b="0" dirty="0" err="1">
                <a:solidFill>
                  <a:schemeClr val="tx2"/>
                </a:solidFill>
                <a:latin typeface="+mn-lt"/>
                <a:sym typeface="+mn-lt"/>
              </a:rPr>
              <a:t>Results</a:t>
            </a:r>
            <a:endParaRPr lang="pt-BR" b="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0D84B65-348A-6C47-BEA0-EB54ED7249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00" y="4671968"/>
            <a:ext cx="3605401" cy="1864863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EB8AA155-02BB-4C4E-B99C-46FDEEE669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01" y="2358088"/>
            <a:ext cx="3605400" cy="1812289"/>
          </a:xfrm>
          <a:prstGeom prst="rect">
            <a:avLst/>
          </a:prstGeom>
        </p:spPr>
      </p:pic>
      <p:sp>
        <p:nvSpPr>
          <p:cNvPr id="22" name="Retângulo 21">
            <a:extLst>
              <a:ext uri="{FF2B5EF4-FFF2-40B4-BE49-F238E27FC236}">
                <a16:creationId xmlns:a16="http://schemas.microsoft.com/office/drawing/2014/main" id="{405B226A-0377-1F4E-8A40-A066255B14E5}"/>
              </a:ext>
            </a:extLst>
          </p:cNvPr>
          <p:cNvSpPr/>
          <p:nvPr/>
        </p:nvSpPr>
        <p:spPr>
          <a:xfrm>
            <a:off x="738001" y="2108757"/>
            <a:ext cx="3605400" cy="25344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b="0" dirty="0" err="1"/>
              <a:t>Cointelegraph</a:t>
            </a:r>
            <a:endParaRPr lang="pt-BR" sz="1500" b="0" dirty="0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F0BAC4EE-3703-7E4F-ADC5-08BE41F20A78}"/>
              </a:ext>
            </a:extLst>
          </p:cNvPr>
          <p:cNvSpPr/>
          <p:nvPr/>
        </p:nvSpPr>
        <p:spPr>
          <a:xfrm>
            <a:off x="738001" y="4442528"/>
            <a:ext cx="3605400" cy="25344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pt-BR" sz="1500" b="0" dirty="0" err="1"/>
              <a:t>Reddit</a:t>
            </a:r>
            <a:endParaRPr lang="pt-BR" sz="1500" b="0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AD6F6E1B-BF4C-D049-961B-86A3C542F2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28989" y="2210605"/>
            <a:ext cx="4445000" cy="1663700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5D5C772D-E7F8-3A47-92A0-9F9CD14BE15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00389" y="4242230"/>
            <a:ext cx="4673600" cy="232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281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2&quot;&gt;&lt;elem m_fUsage=&quot;4.11893809849998149275E+00&quot;&gt;&lt;m_msothmcolidx val=&quot;0&quot;/&gt;&lt;m_rgb r=&quot;FF&quot; g=&quot;96&quot; b=&quot;0C&quot;/&gt;&lt;m_nBrightness val=&quot;0&quot;/&gt;&lt;/elem&gt;&lt;elem m_fUsage=&quot;1.30159969464729119437E+00&quot;&gt;&lt;m_msothmcolidx val=&quot;0&quot;/&gt;&lt;m_rgb r=&quot;7A&quot; g=&quot;D9&quot; b=&quot;70&quot;/&gt;&lt;m_nBrightness val=&quot;0&quot;/&gt;&lt;/elem&gt;&lt;elem m_fUsage=&quot;1.13402658137396961102E+00&quot;&gt;&lt;m_msothmcolidx val=&quot;0&quot;/&gt;&lt;m_rgb r=&quot;FF&quot; g=&quot;D2&quot; b=&quot;97&quot;/&gt;&lt;m_nBrightness val=&quot;0&quot;/&gt;&lt;/elem&gt;&lt;elem m_fUsage=&quot;1.02095721000000017042E+00&quot;&gt;&lt;m_msothmcolidx val=&quot;0&quot;/&gt;&lt;m_rgb r=&quot;48&quot; g=&quot;8D&quot; b=&quot;A8&quot;/&gt;&lt;m_nBrightness val=&quot;0&quot;/&gt;&lt;/elem&gt;&lt;elem m_fUsage=&quot;9.00000000000000022204E-01&quot;&gt;&lt;m_msothmcolidx val=&quot;0&quot;/&gt;&lt;m_rgb r=&quot;C1&quot; g=&quot;C5&quot; b=&quot;CA&quot;/&gt;&lt;m_nBrightness val=&quot;0&quot;/&gt;&lt;/elem&gt;&lt;elem m_fUsage=&quot;7.29000000000000092371E-01&quot;&gt;&lt;m_msothmcolidx val=&quot;0&quot;/&gt;&lt;m_rgb r=&quot;00&quot; g=&quot;7E&quot; b=&quot;CA&quot;/&gt;&lt;m_nBrightness val=&quot;0&quot;/&gt;&lt;/elem&gt;&lt;elem m_fUsage=&quot;6.72944895894265981973E-01&quot;&gt;&lt;m_msothmcolidx val=&quot;0&quot;/&gt;&lt;m_rgb r=&quot;D3&quot; g=&quot;F2&quot; b=&quot;CF&quot;/&gt;&lt;m_nBrightness val=&quot;0&quot;/&gt;&lt;/elem&gt;&lt;elem m_fUsage=&quot;3.33505185673929685497E-02&quot;&gt;&lt;m_msothmcolidx val=&quot;0&quot;/&gt;&lt;m_rgb r=&quot;D9&quot; g=&quot;D9&quot; b=&quot;D9&quot;/&gt;&lt;m_nBrightness val=&quot;0&quot;/&gt;&lt;/elem&gt;&lt;elem m_fUsage=&quot;1.86549546881151807887E-02&quot;&gt;&lt;m_msothmcolidx val=&quot;0&quot;/&gt;&lt;m_rgb r=&quot;DE&quot; g=&quot;E0&quot; b=&quot;E3&quot;/&gt;&lt;m_nBrightness val=&quot;0&quot;/&gt;&lt;/elem&gt;&lt;elem m_fUsage=&quot;1.47808829414346077497E-02&quot;&gt;&lt;m_msothmcolidx val=&quot;0&quot;/&gt;&lt;m_rgb r=&quot;C4&quot; g=&quot;DF&quot; b=&quot;B3&quot;/&gt;&lt;m_nBrightness val=&quot;0&quot;/&gt;&lt;/elem&gt;&lt;elem m_fUsage=&quot;1.45393725015397577011E-02&quot;&gt;&lt;m_msothmcolidx val=&quot;0&quot;/&gt;&lt;m_rgb r=&quot;F2&quot; g=&quot;F2&quot; b=&quot;F2&quot;/&gt;&lt;m_nBrightness val=&quot;0&quot;/&gt;&lt;/elem&gt;&lt;elem m_fUsage=&quot;1.07752636643058292976E-02&quot;&gt;&lt;m_msothmcolidx val=&quot;0&quot;/&gt;&lt;m_rgb r=&quot;DE&quot; g=&quot;ED&quot; b=&quot;D3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melsgBUePgy_NUQgn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4_RB_PPT">
  <a:themeElements>
    <a:clrScheme name="RBSCprintcolorBLUE">
      <a:dk1>
        <a:srgbClr val="000000"/>
      </a:dk1>
      <a:lt1>
        <a:srgbClr val="FFFFFF"/>
      </a:lt1>
      <a:dk2>
        <a:srgbClr val="716D6D"/>
      </a:dk2>
      <a:lt2>
        <a:srgbClr val="003F56"/>
      </a:lt2>
      <a:accent1>
        <a:srgbClr val="FFFFFF"/>
      </a:accent1>
      <a:accent2>
        <a:srgbClr val="DFD6CF"/>
      </a:accent2>
      <a:accent3>
        <a:srgbClr val="003F56"/>
      </a:accent3>
      <a:accent4>
        <a:srgbClr val="A3DCFF"/>
      </a:accent4>
      <a:accent5>
        <a:srgbClr val="DFD6CF"/>
      </a:accent5>
      <a:accent6>
        <a:srgbClr val="29ADFF"/>
      </a:accent6>
      <a:hlink>
        <a:srgbClr val="003F56"/>
      </a:hlink>
      <a:folHlink>
        <a:srgbClr val="A3DCFF"/>
      </a:folHlink>
    </a:clrScheme>
    <a:fontScheme name="RBfontArialNarrow">
      <a:majorFont>
        <a:latin typeface="Arial Narrow"/>
        <a:ea typeface=""/>
        <a:cs typeface=""/>
        <a:font script="Grek" typeface="Arial Narrow"/>
        <a:font script="Cyrl" typeface="Arial Narrow"/>
        <a:font script="Jpan" typeface="MS PGothic"/>
        <a:font script="Hang" typeface="돋움"/>
        <a:font script="Hans" typeface="宋体"/>
        <a:font script="Hant" typeface="新細明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 Narrow"/>
        <a:ea typeface=""/>
        <a:cs typeface=""/>
        <a:font script="Grek" typeface="Arial Narrow"/>
        <a:font script="Cyrl" typeface="Arial Narrow"/>
        <a:font script="Jpan" typeface="MS PGothic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Narrow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3"/>
          </a:solidFill>
        </a:ln>
        <a:effectLst/>
      </a:spPr>
      <a:bodyPr lIns="72000" tIns="72000" rIns="72000" bIns="72000" rtlCol="0" anchor="t" anchorCtr="0">
        <a:noAutofit/>
      </a:bodyPr>
      <a:lstStyle>
        <a:defPPr algn="l">
          <a:lnSpc>
            <a:spcPct val="90000"/>
          </a:lnSpc>
          <a:spcBef>
            <a:spcPts val="400"/>
          </a:spcBef>
          <a:defRPr sz="1500" b="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spcBef>
            <a:spcPts val="400"/>
          </a:spcBef>
          <a:buClr>
            <a:srgbClr val="000000"/>
          </a:buClr>
          <a:buSzPct val="100000"/>
          <a:defRPr sz="1500" b="0" noProof="0" dirty="0" smtClean="0">
            <a:latin typeface="+mn-lt"/>
            <a:cs typeface="Arial Narrow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683</TotalTime>
  <Words>760</Words>
  <Application>Microsoft Macintosh PowerPoint</Application>
  <PresentationFormat>Papel A4 (210 x 297 mm)</PresentationFormat>
  <Paragraphs>125</Paragraphs>
  <Slides>11</Slides>
  <Notes>1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6" baseType="lpstr">
      <vt:lpstr>Arial Narrow</vt:lpstr>
      <vt:lpstr>Calibri</vt:lpstr>
      <vt:lpstr>Cambria Math</vt:lpstr>
      <vt:lpstr>A4_RB_PPT</vt:lpstr>
      <vt:lpstr>think-cell Slide</vt:lpstr>
      <vt:lpstr>Cryptocurrency market relation with news and social media</vt:lpstr>
      <vt:lpstr>Cryptocurrencies have already raised $21B US in 2018 through ICOs, yet very few governments have seriously discussed it</vt:lpstr>
      <vt:lpstr>A coin’s value is mainly defined by its network extension and the spe-culation on it, depending on adoption, restriction and its likelihoods</vt:lpstr>
      <vt:lpstr>Information on the daily variation of crypto prices was collected, along with news from Cointelegraph, posts from Reddit and Dow Jones values</vt:lpstr>
      <vt:lpstr>To interpret each news feed and posts from Cointelegraph and Reddit, a sentiment analysis was conducted</vt:lpstr>
      <vt:lpstr>The information retrieved was cleaned and joined to allow analysis. A shiny app was developped to facilitate the visualization of the data</vt:lpstr>
      <vt:lpstr>The cryptocurrency market is not influenced by the stocks market. Dow Jones movements show no correlation with Bitcoin or other coins</vt:lpstr>
      <vt:lpstr>Nevertheless, most coins seem to follow Bitcoins Market movements, having high correlations on daily movements and volatility</vt:lpstr>
      <vt:lpstr>Bitcoin’s daily price variations are slightly influenced by the news on Cointelegraph and posts on Reddit</vt:lpstr>
      <vt:lpstr>Smaller coins movement are a function of Bitcoin’s movements and their own mentions on news and social media</vt:lpstr>
      <vt:lpstr>Apresentação do PowerPoint</vt:lpstr>
    </vt:vector>
  </TitlesOfParts>
  <Company>Roland Berger Strategy Consultan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o Braganca</dc:creator>
  <cp:lastModifiedBy>Heloisa Dutcosky</cp:lastModifiedBy>
  <cp:revision>3256</cp:revision>
  <cp:lastPrinted>2018-10-16T18:02:04Z</cp:lastPrinted>
  <dcterms:created xsi:type="dcterms:W3CDTF">2018-01-04T11:23:32Z</dcterms:created>
  <dcterms:modified xsi:type="dcterms:W3CDTF">2018-11-01T18:28:57Z</dcterms:modified>
</cp:coreProperties>
</file>